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80" r:id="rId2"/>
    <p:sldId id="300" r:id="rId3"/>
    <p:sldId id="311" r:id="rId4"/>
    <p:sldId id="312" r:id="rId5"/>
    <p:sldId id="314" r:id="rId6"/>
  </p:sldIdLst>
  <p:sldSz cx="9144000" cy="6858000" type="screen4x3"/>
  <p:notesSz cx="6797675" cy="9928225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</p:embeddedFontLst>
  <p:custDataLst>
    <p:tags r:id="rId13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166">
          <p15:clr>
            <a:srgbClr val="A4A3A4"/>
          </p15:clr>
        </p15:guide>
        <p15:guide id="4" orient="horz" pos="840">
          <p15:clr>
            <a:srgbClr val="A4A3A4"/>
          </p15:clr>
        </p15:guide>
        <p15:guide id="5" orient="horz" pos="3840">
          <p15:clr>
            <a:srgbClr val="A4A3A4"/>
          </p15:clr>
        </p15:guide>
        <p15:guide id="6" pos="339">
          <p15:clr>
            <a:srgbClr val="A4A3A4"/>
          </p15:clr>
        </p15:guide>
        <p15:guide id="7" pos="5601">
          <p15:clr>
            <a:srgbClr val="A4A3A4"/>
          </p15:clr>
        </p15:guide>
        <p15:guide id="8" pos="206">
          <p15:clr>
            <a:srgbClr val="A4A3A4"/>
          </p15:clr>
        </p15:guide>
        <p15:guide id="9" pos="2915">
          <p15:clr>
            <a:srgbClr val="A4A3A4"/>
          </p15:clr>
        </p15:guide>
        <p15:guide id="10" pos="302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6BB1"/>
    <a:srgbClr val="0092D2"/>
    <a:srgbClr val="FF9900"/>
    <a:srgbClr val="0C87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7" autoAdjust="0"/>
    <p:restoredTop sz="89631" autoAdjust="0"/>
  </p:normalViewPr>
  <p:slideViewPr>
    <p:cSldViewPr snapToGrid="0" snapToObjects="1">
      <p:cViewPr>
        <p:scale>
          <a:sx n="69" d="100"/>
          <a:sy n="69" d="100"/>
        </p:scale>
        <p:origin x="-2448" y="-786"/>
      </p:cViewPr>
      <p:guideLst>
        <p:guide orient="horz" pos="2160"/>
        <p:guide orient="horz" pos="2166"/>
        <p:guide orient="horz" pos="840"/>
        <p:guide orient="horz" pos="3840"/>
        <p:guide pos="2880"/>
        <p:guide pos="339"/>
        <p:guide pos="5601"/>
        <p:guide pos="206"/>
        <p:guide pos="2915"/>
        <p:guide pos="302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13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66FC14-50AA-DC44-9646-281E13A0E7AD}" type="datetimeFigureOut">
              <a:rPr lang="de-DE" smtClean="0"/>
              <a:pPr/>
              <a:t>27.03.20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55817A-E7A0-134B-97CC-FDE03089B808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743726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6DB5C9-641B-DB41-835E-E49789D24FE1}" type="datetimeFigureOut">
              <a:rPr lang="de-DE" smtClean="0"/>
              <a:pPr/>
              <a:t>27.03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424D36-26C4-A642-B58A-613C6DBFB478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58000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5424D36-26C4-A642-B58A-613C6DBFB478}" type="slidenum">
              <a:rPr/>
              <a:pPr algn="l" rtl="0"/>
              <a:t>1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71537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24D36-26C4-A642-B58A-613C6DBFB478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82646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24D36-26C4-A642-B58A-613C6DBFB478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7121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4595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NFON Draft 15_Original.pptx - Microsoft PowerPoint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27025" y="1333500"/>
            <a:ext cx="7182001" cy="461665"/>
          </a:xfrm>
          <a:prstGeom prst="rect">
            <a:avLst/>
          </a:prstGeom>
        </p:spPr>
        <p:txBody>
          <a:bodyPr vert="horz" anchor="t" anchorCtr="0"/>
          <a:lstStyle>
            <a:lvl1pPr marL="0" indent="0">
              <a:buNone/>
              <a:defRPr sz="3000" b="0" i="0" cap="all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„Thema der Präsentation“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7025" y="5845359"/>
            <a:ext cx="5562600" cy="246221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1600">
                <a:solidFill>
                  <a:srgbClr val="FFFFFE"/>
                </a:solidFill>
              </a:defRPr>
            </a:lvl1pPr>
          </a:lstStyle>
          <a:p>
            <a:pPr lvl="0"/>
            <a:r>
              <a:rPr lang="de-DE" dirty="0" smtClean="0"/>
              <a:t>Max Musterman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8588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8163" y="6620976"/>
            <a:ext cx="8343900" cy="153888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ctr">
            <a:spAutoFit/>
          </a:bodyPr>
          <a:lstStyle>
            <a:lvl1pPr marL="0" algn="l" defTabSz="457200" rtl="0" eaLnBrk="1" latinLnBrk="0" hangingPunct="1">
              <a:defRPr lang="de-DE" sz="1000" kern="1200" smtClean="0">
                <a:solidFill>
                  <a:srgbClr val="141313">
                    <a:tint val="75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nn-NO" dirty="0" smtClean="0"/>
              <a:t>Seite </a:t>
            </a:r>
            <a:fld id="{CE339489-ACA9-B54D-8689-83BF6B8CCA9F}" type="slidenum">
              <a:rPr lang="nn-NO" smtClean="0"/>
              <a:pPr/>
              <a:t>‹Nr.›</a:t>
            </a:fld>
            <a:r>
              <a:rPr lang="nn-NO" dirty="0" smtClean="0"/>
              <a:t> | 					      NFON AG	</a:t>
            </a:r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4000706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38163" y="1333500"/>
            <a:ext cx="8353425" cy="47625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8163" y="6620976"/>
            <a:ext cx="8343900" cy="153888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ctr">
            <a:spAutoFit/>
          </a:bodyPr>
          <a:lstStyle>
            <a:lvl1pPr marL="0" algn="l" defTabSz="457200" rtl="0" eaLnBrk="1" latinLnBrk="0" hangingPunct="1">
              <a:defRPr lang="de-DE" sz="1000" kern="1200" smtClean="0">
                <a:solidFill>
                  <a:srgbClr val="141313">
                    <a:tint val="75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nn-NO" dirty="0" smtClean="0"/>
              <a:t>Seite </a:t>
            </a:r>
            <a:fld id="{CE339489-ACA9-B54D-8689-83BF6B8CCA9F}" type="slidenum">
              <a:rPr lang="nn-NO" smtClean="0"/>
              <a:pPr/>
              <a:t>‹Nr.›</a:t>
            </a:fld>
            <a:r>
              <a:rPr lang="nn-NO" dirty="0" smtClean="0"/>
              <a:t> | 30.10.2013						      NFON AG	</a:t>
            </a:r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2639933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093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8163" y="125968"/>
            <a:ext cx="8343900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de-DE" dirty="0" smtClean="0"/>
              <a:t>Mastertitelformat bearbeiten</a:t>
            </a:r>
            <a:endParaRPr lang="de-DE" dirty="0"/>
          </a:p>
        </p:txBody>
      </p:sp>
      <p:pic>
        <p:nvPicPr>
          <p:cNvPr id="5" name="Picture 7" descr="nfon_logo_ger_rgb_3D_cyan_groß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7411" y="6160504"/>
            <a:ext cx="444652" cy="60158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265588" y="3265580"/>
            <a:ext cx="6858198" cy="327025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8162" y="1333500"/>
            <a:ext cx="8353425" cy="142808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8163" y="6620976"/>
            <a:ext cx="8343900" cy="153888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vert="horz" wrap="square" lIns="0" tIns="0" rIns="0" bIns="0" rtlCol="0" anchor="ctr">
            <a:spAutoFit/>
          </a:bodyPr>
          <a:lstStyle>
            <a:lvl1pPr marL="0" algn="l" defTabSz="457200" rtl="0" eaLnBrk="1" latinLnBrk="0" hangingPunct="1">
              <a:defRPr lang="de-DE" sz="1000" kern="1200" smtClean="0">
                <a:solidFill>
                  <a:srgbClr val="141313">
                    <a:tint val="75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nn-NO" dirty="0" smtClean="0"/>
              <a:t>Seite </a:t>
            </a:r>
            <a:fld id="{CE339489-ACA9-B54D-8689-83BF6B8CCA9F}" type="slidenum">
              <a:rPr lang="nn-NO" smtClean="0"/>
              <a:pPr/>
              <a:t>‹Nr.›</a:t>
            </a:fld>
            <a:r>
              <a:rPr lang="nn-NO" dirty="0" smtClean="0"/>
              <a:t> | 30.10.2013						      NFON AG	</a:t>
            </a:r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1798866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7" r:id="rId2"/>
    <p:sldLayoutId id="2147483708" r:id="rId3"/>
    <p:sldLayoutId id="2147483709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lang="de-DE" sz="2400" b="0" i="0" u="none" kern="1200" cap="none" dirty="0">
          <a:solidFill>
            <a:schemeClr val="accent1"/>
          </a:solidFill>
          <a:latin typeface="Arial" pitchFamily="34" charset="0"/>
          <a:ea typeface="+mj-ea"/>
          <a:cs typeface="Eurostile LT Std Demi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600" b="0" i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61950" indent="-180975" algn="l" defTabSz="457200" rtl="0" eaLnBrk="1" latinLnBrk="0" hangingPunct="1">
        <a:spcBef>
          <a:spcPct val="200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2925" indent="-188913" algn="l" defTabSz="457200" rtl="0" eaLnBrk="1" latinLnBrk="0" hangingPunct="1">
        <a:spcBef>
          <a:spcPct val="200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08025" indent="-173038" algn="l" defTabSz="457200" rtl="0" eaLnBrk="1" latinLnBrk="0" hangingPunct="1">
        <a:spcBef>
          <a:spcPct val="200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89000" indent="-180975" algn="l" defTabSz="457200" rtl="0" eaLnBrk="1" latinLnBrk="0" hangingPunct="1">
        <a:spcBef>
          <a:spcPct val="20000"/>
        </a:spcBef>
        <a:buFont typeface="Arial" pitchFamily="34" charset="0"/>
        <a:buChar char="•"/>
        <a:defRPr sz="1600" b="0" i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8.jpe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tags" Target="../tags/tag6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4.png"/><Relationship Id="rId5" Type="http://schemas.openxmlformats.org/officeDocument/2006/relationships/image" Target="../media/image10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55458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27025" y="1333500"/>
            <a:ext cx="7182001" cy="2585323"/>
          </a:xfrm>
          <a:noFill/>
        </p:spPr>
        <p:txBody>
          <a:bodyPr lIns="0" tIns="0" rIns="0" bIns="0">
            <a:spAutoFit/>
          </a:bodyPr>
          <a:lstStyle/>
          <a:p>
            <a:pPr algn="l" rtl="0"/>
            <a:r>
              <a:rPr lang="en" dirty="0" smtClean="0"/>
              <a:t>NFON</a:t>
            </a:r>
          </a:p>
          <a:p>
            <a:pPr algn="l" rtl="0"/>
            <a:r>
              <a:rPr lang="en" dirty="0" smtClean="0">
                <a:latin typeface="Arial" pitchFamily="34" charset="0"/>
                <a:cs typeface="Arial" pitchFamily="34" charset="0"/>
              </a:rPr>
              <a:t>Die cloud-telefonanlage  </a:t>
            </a:r>
            <a:br>
              <a:rPr lang="en" dirty="0" smtClean="0">
                <a:latin typeface="Arial" pitchFamily="34" charset="0"/>
                <a:cs typeface="Arial" pitchFamily="34" charset="0"/>
              </a:rPr>
            </a:br>
            <a:r>
              <a:rPr lang="en" dirty="0" smtClean="0">
                <a:latin typeface="Arial" pitchFamily="34" charset="0"/>
                <a:cs typeface="Arial" pitchFamily="34" charset="0"/>
              </a:rPr>
              <a:t>aus deutschland für europa</a:t>
            </a:r>
          </a:p>
          <a:p>
            <a:pPr algn="l" rtl="0"/>
            <a:endParaRPr lang="en" dirty="0" smtClean="0">
              <a:latin typeface="Arial" pitchFamily="34" charset="0"/>
              <a:cs typeface="Arial" pitchFamily="34" charset="0"/>
            </a:endParaRPr>
          </a:p>
          <a:p>
            <a:pPr algn="l" rtl="0"/>
            <a:endParaRPr lang="en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27025" y="5854693"/>
            <a:ext cx="5562600" cy="541687"/>
          </a:xfrm>
        </p:spPr>
        <p:txBody>
          <a:bodyPr lIns="0"/>
          <a:lstStyle/>
          <a:p>
            <a:pPr algn="l" rtl="0"/>
            <a:r>
              <a:rPr lang="de-DE" dirty="0" smtClean="0"/>
              <a:t>M</a:t>
            </a:r>
            <a:r>
              <a:rPr lang="en" dirty="0" smtClean="0"/>
              <a:t>ünchner Kreis 25. März 2014</a:t>
            </a:r>
          </a:p>
          <a:p>
            <a:pPr algn="l" rtl="0"/>
            <a:r>
              <a:rPr lang="en" b="0" i="0" u="none" dirty="0" smtClean="0"/>
              <a:t>CEO NFON AG, Rainer Koppitz</a:t>
            </a:r>
            <a:endParaRPr lang="en" b="0" i="0" u="none" dirty="0"/>
          </a:p>
        </p:txBody>
      </p:sp>
    </p:spTree>
    <p:extLst>
      <p:ext uri="{BB962C8B-B14F-4D97-AF65-F5344CB8AC3E}">
        <p14:creationId xmlns:p14="http://schemas.microsoft.com/office/powerpoint/2010/main" val="1181763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" r="1" b="15848"/>
          <a:stretch/>
        </p:blipFill>
        <p:spPr>
          <a:xfrm>
            <a:off x="514998" y="272957"/>
            <a:ext cx="8305474" cy="5778500"/>
          </a:xfrm>
          <a:prstGeom prst="roundRect">
            <a:avLst>
              <a:gd name="adj" fmla="val 1803"/>
            </a:avLst>
          </a:prstGeom>
          <a:solidFill>
            <a:srgbClr val="FFFFFF">
              <a:shade val="85000"/>
            </a:srgbClr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schemeClr val="accent5">
                <a:alpha val="40000"/>
              </a:schemeClr>
            </a:outerShdw>
          </a:effectLst>
        </p:spPr>
      </p:pic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/>
          <p:cNvPicPr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99" r="15999"/>
          <a:stretch/>
        </p:blipFill>
        <p:spPr>
          <a:xfrm>
            <a:off x="966393" y="987960"/>
            <a:ext cx="3581553" cy="4528800"/>
          </a:xfrm>
          <a:prstGeom prst="roundRect">
            <a:avLst>
              <a:gd name="adj" fmla="val 1803"/>
            </a:avLst>
          </a:prstGeom>
          <a:solidFill>
            <a:srgbClr val="FFFFFF">
              <a:shade val="85000"/>
            </a:srgbClr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schemeClr val="accent5">
                <a:alpha val="40000"/>
              </a:schemeClr>
            </a:outerShdw>
          </a:effectLst>
        </p:spPr>
      </p:pic>
      <p:pic>
        <p:nvPicPr>
          <p:cNvPr id="39966" name="Picture 30" descr="L:\Kunden\000 nfon\1232612543Siemens_hipath4000[1].jpg"/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919" t="-4413" r="-25919" b="-4413"/>
          <a:stretch/>
        </p:blipFill>
        <p:spPr bwMode="auto">
          <a:xfrm>
            <a:off x="4849347" y="987960"/>
            <a:ext cx="3581806" cy="4528800"/>
          </a:xfrm>
          <a:prstGeom prst="roundRect">
            <a:avLst>
              <a:gd name="adj" fmla="val 1803"/>
            </a:avLst>
          </a:prstGeom>
          <a:solidFill>
            <a:schemeClr val="bg1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schemeClr val="accent5">
                <a:alpha val="40000"/>
              </a:schemeClr>
            </a:outerShdw>
          </a:effectLst>
          <a:extLst/>
        </p:spPr>
      </p:pic>
      <p:grpSp>
        <p:nvGrpSpPr>
          <p:cNvPr id="24" name="Gruppieren 23"/>
          <p:cNvGrpSpPr/>
          <p:nvPr/>
        </p:nvGrpSpPr>
        <p:grpSpPr>
          <a:xfrm>
            <a:off x="1253271" y="1157713"/>
            <a:ext cx="3153148" cy="4189294"/>
            <a:chOff x="5441950" y="457201"/>
            <a:chExt cx="1295400" cy="1373188"/>
          </a:xfr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Freeform 28"/>
            <p:cNvSpPr>
              <a:spLocks/>
            </p:cNvSpPr>
            <p:nvPr/>
          </p:nvSpPr>
          <p:spPr bwMode="auto">
            <a:xfrm>
              <a:off x="5473700" y="600076"/>
              <a:ext cx="6350" cy="4763"/>
            </a:xfrm>
            <a:custGeom>
              <a:avLst/>
              <a:gdLst>
                <a:gd name="T0" fmla="*/ 1 w 7"/>
                <a:gd name="T1" fmla="*/ 0 h 5"/>
                <a:gd name="T2" fmla="*/ 0 w 7"/>
                <a:gd name="T3" fmla="*/ 1 h 5"/>
                <a:gd name="T4" fmla="*/ 7 w 7"/>
                <a:gd name="T5" fmla="*/ 5 h 5"/>
                <a:gd name="T6" fmla="*/ 1 w 7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5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4" y="2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6" name="Freeform 29"/>
            <p:cNvSpPr>
              <a:spLocks/>
            </p:cNvSpPr>
            <p:nvPr/>
          </p:nvSpPr>
          <p:spPr bwMode="auto">
            <a:xfrm>
              <a:off x="5489575" y="596901"/>
              <a:ext cx="3175" cy="1588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1 h 1"/>
                <a:gd name="T4" fmla="*/ 2 w 2"/>
                <a:gd name="T5" fmla="*/ 1 h 1"/>
                <a:gd name="T6" fmla="*/ 1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lnTo>
                    <a:pt x="0" y="1"/>
                  </a:lnTo>
                  <a:lnTo>
                    <a:pt x="2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7" name="Freeform 30"/>
            <p:cNvSpPr>
              <a:spLocks/>
            </p:cNvSpPr>
            <p:nvPr/>
          </p:nvSpPr>
          <p:spPr bwMode="auto">
            <a:xfrm>
              <a:off x="5441950" y="601664"/>
              <a:ext cx="63500" cy="31750"/>
            </a:xfrm>
            <a:custGeom>
              <a:avLst/>
              <a:gdLst>
                <a:gd name="T0" fmla="*/ 37 w 73"/>
                <a:gd name="T1" fmla="*/ 0 h 37"/>
                <a:gd name="T2" fmla="*/ 30 w 73"/>
                <a:gd name="T3" fmla="*/ 11 h 37"/>
                <a:gd name="T4" fmla="*/ 16 w 73"/>
                <a:gd name="T5" fmla="*/ 1 h 37"/>
                <a:gd name="T6" fmla="*/ 12 w 73"/>
                <a:gd name="T7" fmla="*/ 7 h 37"/>
                <a:gd name="T8" fmla="*/ 4 w 73"/>
                <a:gd name="T9" fmla="*/ 3 h 37"/>
                <a:gd name="T10" fmla="*/ 9 w 73"/>
                <a:gd name="T11" fmla="*/ 13 h 37"/>
                <a:gd name="T12" fmla="*/ 37 w 73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37">
                  <a:moveTo>
                    <a:pt x="37" y="0"/>
                  </a:moveTo>
                  <a:cubicBezTo>
                    <a:pt x="35" y="4"/>
                    <a:pt x="35" y="9"/>
                    <a:pt x="30" y="11"/>
                  </a:cubicBezTo>
                  <a:cubicBezTo>
                    <a:pt x="26" y="8"/>
                    <a:pt x="19" y="3"/>
                    <a:pt x="16" y="1"/>
                  </a:cubicBezTo>
                  <a:cubicBezTo>
                    <a:pt x="11" y="0"/>
                    <a:pt x="13" y="5"/>
                    <a:pt x="12" y="7"/>
                  </a:cubicBezTo>
                  <a:cubicBezTo>
                    <a:pt x="8" y="4"/>
                    <a:pt x="5" y="2"/>
                    <a:pt x="4" y="3"/>
                  </a:cubicBezTo>
                  <a:cubicBezTo>
                    <a:pt x="0" y="4"/>
                    <a:pt x="3" y="8"/>
                    <a:pt x="9" y="13"/>
                  </a:cubicBezTo>
                  <a:cubicBezTo>
                    <a:pt x="31" y="13"/>
                    <a:pt x="73" y="37"/>
                    <a:pt x="3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8" name="Freeform 31"/>
            <p:cNvSpPr>
              <a:spLocks/>
            </p:cNvSpPr>
            <p:nvPr/>
          </p:nvSpPr>
          <p:spPr bwMode="auto">
            <a:xfrm>
              <a:off x="5480050" y="600076"/>
              <a:ext cx="23813" cy="12700"/>
            </a:xfrm>
            <a:custGeom>
              <a:avLst/>
              <a:gdLst>
                <a:gd name="T0" fmla="*/ 7 w 26"/>
                <a:gd name="T1" fmla="*/ 0 h 14"/>
                <a:gd name="T2" fmla="*/ 0 w 26"/>
                <a:gd name="T3" fmla="*/ 5 h 14"/>
                <a:gd name="T4" fmla="*/ 26 w 26"/>
                <a:gd name="T5" fmla="*/ 14 h 14"/>
                <a:gd name="T6" fmla="*/ 7 w 26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4">
                  <a:moveTo>
                    <a:pt x="7" y="0"/>
                  </a:moveTo>
                  <a:cubicBezTo>
                    <a:pt x="4" y="1"/>
                    <a:pt x="0" y="1"/>
                    <a:pt x="0" y="5"/>
                  </a:cubicBezTo>
                  <a:cubicBezTo>
                    <a:pt x="11" y="10"/>
                    <a:pt x="18" y="13"/>
                    <a:pt x="26" y="14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9" name="Freeform 32"/>
            <p:cNvSpPr>
              <a:spLocks/>
            </p:cNvSpPr>
            <p:nvPr/>
          </p:nvSpPr>
          <p:spPr bwMode="auto">
            <a:xfrm>
              <a:off x="6635750" y="1647826"/>
              <a:ext cx="92075" cy="55563"/>
            </a:xfrm>
            <a:custGeom>
              <a:avLst/>
              <a:gdLst>
                <a:gd name="T0" fmla="*/ 58 w 107"/>
                <a:gd name="T1" fmla="*/ 37 h 65"/>
                <a:gd name="T2" fmla="*/ 62 w 107"/>
                <a:gd name="T3" fmla="*/ 39 h 65"/>
                <a:gd name="T4" fmla="*/ 58 w 107"/>
                <a:gd name="T5" fmla="*/ 37 h 65"/>
                <a:gd name="T6" fmla="*/ 55 w 107"/>
                <a:gd name="T7" fmla="*/ 37 h 65"/>
                <a:gd name="T8" fmla="*/ 100 w 107"/>
                <a:gd name="T9" fmla="*/ 64 h 65"/>
                <a:gd name="T10" fmla="*/ 107 w 107"/>
                <a:gd name="T11" fmla="*/ 65 h 65"/>
                <a:gd name="T12" fmla="*/ 0 w 107"/>
                <a:gd name="T13" fmla="*/ 0 h 65"/>
                <a:gd name="T14" fmla="*/ 58 w 107"/>
                <a:gd name="T15" fmla="*/ 3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" h="65">
                  <a:moveTo>
                    <a:pt x="58" y="37"/>
                  </a:moveTo>
                  <a:cubicBezTo>
                    <a:pt x="58" y="36"/>
                    <a:pt x="59" y="36"/>
                    <a:pt x="62" y="39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7" y="37"/>
                    <a:pt x="57" y="38"/>
                    <a:pt x="55" y="37"/>
                  </a:cubicBezTo>
                  <a:cubicBezTo>
                    <a:pt x="69" y="45"/>
                    <a:pt x="85" y="55"/>
                    <a:pt x="100" y="64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70" y="41"/>
                    <a:pt x="34" y="16"/>
                    <a:pt x="0" y="0"/>
                  </a:cubicBezTo>
                  <a:cubicBezTo>
                    <a:pt x="22" y="15"/>
                    <a:pt x="37" y="23"/>
                    <a:pt x="5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0" name="Freeform 33"/>
            <p:cNvSpPr>
              <a:spLocks/>
            </p:cNvSpPr>
            <p:nvPr/>
          </p:nvSpPr>
          <p:spPr bwMode="auto">
            <a:xfrm>
              <a:off x="6734175" y="1700214"/>
              <a:ext cx="3175" cy="3175"/>
            </a:xfrm>
            <a:custGeom>
              <a:avLst/>
              <a:gdLst>
                <a:gd name="T0" fmla="*/ 0 w 4"/>
                <a:gd name="T1" fmla="*/ 1 h 4"/>
                <a:gd name="T2" fmla="*/ 4 w 4"/>
                <a:gd name="T3" fmla="*/ 4 h 4"/>
                <a:gd name="T4" fmla="*/ 0 w 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1" name="Freeform 34"/>
            <p:cNvSpPr>
              <a:spLocks/>
            </p:cNvSpPr>
            <p:nvPr/>
          </p:nvSpPr>
          <p:spPr bwMode="auto">
            <a:xfrm>
              <a:off x="6115050" y="1273176"/>
              <a:ext cx="104775" cy="71438"/>
            </a:xfrm>
            <a:custGeom>
              <a:avLst/>
              <a:gdLst>
                <a:gd name="T0" fmla="*/ 67 w 120"/>
                <a:gd name="T1" fmla="*/ 40 h 81"/>
                <a:gd name="T2" fmla="*/ 0 w 120"/>
                <a:gd name="T3" fmla="*/ 0 h 81"/>
                <a:gd name="T4" fmla="*/ 120 w 120"/>
                <a:gd name="T5" fmla="*/ 81 h 81"/>
                <a:gd name="T6" fmla="*/ 67 w 120"/>
                <a:gd name="T7" fmla="*/ 4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0" h="81">
                  <a:moveTo>
                    <a:pt x="67" y="40"/>
                  </a:moveTo>
                  <a:cubicBezTo>
                    <a:pt x="44" y="24"/>
                    <a:pt x="21" y="13"/>
                    <a:pt x="0" y="0"/>
                  </a:cubicBezTo>
                  <a:cubicBezTo>
                    <a:pt x="45" y="31"/>
                    <a:pt x="87" y="60"/>
                    <a:pt x="120" y="81"/>
                  </a:cubicBezTo>
                  <a:cubicBezTo>
                    <a:pt x="102" y="67"/>
                    <a:pt x="83" y="52"/>
                    <a:pt x="67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2" name="Freeform 35"/>
            <p:cNvSpPr>
              <a:spLocks/>
            </p:cNvSpPr>
            <p:nvPr/>
          </p:nvSpPr>
          <p:spPr bwMode="auto">
            <a:xfrm>
              <a:off x="6505575" y="1466851"/>
              <a:ext cx="68263" cy="39688"/>
            </a:xfrm>
            <a:custGeom>
              <a:avLst/>
              <a:gdLst>
                <a:gd name="T0" fmla="*/ 30 w 79"/>
                <a:gd name="T1" fmla="*/ 24 h 46"/>
                <a:gd name="T2" fmla="*/ 65 w 79"/>
                <a:gd name="T3" fmla="*/ 43 h 46"/>
                <a:gd name="T4" fmla="*/ 79 w 79"/>
                <a:gd name="T5" fmla="*/ 46 h 46"/>
                <a:gd name="T6" fmla="*/ 76 w 79"/>
                <a:gd name="T7" fmla="*/ 44 h 46"/>
                <a:gd name="T8" fmla="*/ 22 w 79"/>
                <a:gd name="T9" fmla="*/ 11 h 46"/>
                <a:gd name="T10" fmla="*/ 0 w 79"/>
                <a:gd name="T11" fmla="*/ 0 h 46"/>
                <a:gd name="T12" fmla="*/ 30 w 79"/>
                <a:gd name="T13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46">
                  <a:moveTo>
                    <a:pt x="30" y="24"/>
                  </a:moveTo>
                  <a:cubicBezTo>
                    <a:pt x="49" y="33"/>
                    <a:pt x="59" y="39"/>
                    <a:pt x="65" y="43"/>
                  </a:cubicBezTo>
                  <a:cubicBezTo>
                    <a:pt x="68" y="44"/>
                    <a:pt x="73" y="45"/>
                    <a:pt x="79" y="46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14" y="6"/>
                    <a:pt x="7" y="3"/>
                    <a:pt x="0" y="0"/>
                  </a:cubicBezTo>
                  <a:lnTo>
                    <a:pt x="3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3" name="Freeform 36"/>
            <p:cNvSpPr>
              <a:spLocks/>
            </p:cNvSpPr>
            <p:nvPr/>
          </p:nvSpPr>
          <p:spPr bwMode="auto">
            <a:xfrm>
              <a:off x="6535737" y="1500189"/>
              <a:ext cx="46038" cy="17463"/>
            </a:xfrm>
            <a:custGeom>
              <a:avLst/>
              <a:gdLst>
                <a:gd name="T0" fmla="*/ 29 w 52"/>
                <a:gd name="T1" fmla="*/ 4 h 19"/>
                <a:gd name="T2" fmla="*/ 29 w 52"/>
                <a:gd name="T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2" h="19">
                  <a:moveTo>
                    <a:pt x="29" y="4"/>
                  </a:moveTo>
                  <a:cubicBezTo>
                    <a:pt x="0" y="0"/>
                    <a:pt x="52" y="19"/>
                    <a:pt x="2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4" name="Freeform 37"/>
            <p:cNvSpPr>
              <a:spLocks/>
            </p:cNvSpPr>
            <p:nvPr/>
          </p:nvSpPr>
          <p:spPr bwMode="auto">
            <a:xfrm>
              <a:off x="6423025" y="1481139"/>
              <a:ext cx="9525" cy="6350"/>
            </a:xfrm>
            <a:custGeom>
              <a:avLst/>
              <a:gdLst>
                <a:gd name="T0" fmla="*/ 0 w 6"/>
                <a:gd name="T1" fmla="*/ 0 h 4"/>
                <a:gd name="T2" fmla="*/ 6 w 6"/>
                <a:gd name="T3" fmla="*/ 4 h 4"/>
                <a:gd name="T4" fmla="*/ 5 w 6"/>
                <a:gd name="T5" fmla="*/ 2 h 4"/>
                <a:gd name="T6" fmla="*/ 0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6" y="4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5" name="Freeform 38"/>
            <p:cNvSpPr>
              <a:spLocks/>
            </p:cNvSpPr>
            <p:nvPr/>
          </p:nvSpPr>
          <p:spPr bwMode="auto">
            <a:xfrm>
              <a:off x="6242050" y="1304926"/>
              <a:ext cx="73025" cy="50800"/>
            </a:xfrm>
            <a:custGeom>
              <a:avLst/>
              <a:gdLst>
                <a:gd name="T0" fmla="*/ 42 w 85"/>
                <a:gd name="T1" fmla="*/ 28 h 59"/>
                <a:gd name="T2" fmla="*/ 85 w 85"/>
                <a:gd name="T3" fmla="*/ 59 h 59"/>
                <a:gd name="T4" fmla="*/ 0 w 85"/>
                <a:gd name="T5" fmla="*/ 0 h 59"/>
                <a:gd name="T6" fmla="*/ 10 w 85"/>
                <a:gd name="T7" fmla="*/ 10 h 59"/>
                <a:gd name="T8" fmla="*/ 42 w 85"/>
                <a:gd name="T9" fmla="*/ 2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59">
                  <a:moveTo>
                    <a:pt x="42" y="28"/>
                  </a:moveTo>
                  <a:cubicBezTo>
                    <a:pt x="85" y="59"/>
                    <a:pt x="85" y="59"/>
                    <a:pt x="85" y="59"/>
                  </a:cubicBezTo>
                  <a:cubicBezTo>
                    <a:pt x="56" y="38"/>
                    <a:pt x="26" y="16"/>
                    <a:pt x="0" y="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9" y="13"/>
                    <a:pt x="31" y="20"/>
                    <a:pt x="4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6" name="Freeform 39"/>
            <p:cNvSpPr>
              <a:spLocks noEditPoints="1"/>
            </p:cNvSpPr>
            <p:nvPr/>
          </p:nvSpPr>
          <p:spPr bwMode="auto">
            <a:xfrm>
              <a:off x="5480050" y="492126"/>
              <a:ext cx="1239838" cy="1323975"/>
            </a:xfrm>
            <a:custGeom>
              <a:avLst/>
              <a:gdLst>
                <a:gd name="T0" fmla="*/ 1011 w 1426"/>
                <a:gd name="T1" fmla="*/ 1063 h 1523"/>
                <a:gd name="T2" fmla="*/ 824 w 1426"/>
                <a:gd name="T3" fmla="*/ 943 h 1523"/>
                <a:gd name="T4" fmla="*/ 989 w 1426"/>
                <a:gd name="T5" fmla="*/ 1048 h 1523"/>
                <a:gd name="T6" fmla="*/ 1189 w 1426"/>
                <a:gd name="T7" fmla="*/ 1162 h 1523"/>
                <a:gd name="T8" fmla="*/ 1114 w 1426"/>
                <a:gd name="T9" fmla="*/ 1074 h 1523"/>
                <a:gd name="T10" fmla="*/ 1202 w 1426"/>
                <a:gd name="T11" fmla="*/ 1132 h 1523"/>
                <a:gd name="T12" fmla="*/ 1182 w 1426"/>
                <a:gd name="T13" fmla="*/ 1104 h 1523"/>
                <a:gd name="T14" fmla="*/ 750 w 1426"/>
                <a:gd name="T15" fmla="*/ 807 h 1523"/>
                <a:gd name="T16" fmla="*/ 947 w 1426"/>
                <a:gd name="T17" fmla="*/ 940 h 1523"/>
                <a:gd name="T18" fmla="*/ 741 w 1426"/>
                <a:gd name="T19" fmla="*/ 798 h 1523"/>
                <a:gd name="T20" fmla="*/ 1018 w 1426"/>
                <a:gd name="T21" fmla="*/ 429 h 1523"/>
                <a:gd name="T22" fmla="*/ 1328 w 1426"/>
                <a:gd name="T23" fmla="*/ 92 h 1523"/>
                <a:gd name="T24" fmla="*/ 1333 w 1426"/>
                <a:gd name="T25" fmla="*/ 54 h 1523"/>
                <a:gd name="T26" fmla="*/ 1329 w 1426"/>
                <a:gd name="T27" fmla="*/ 38 h 1523"/>
                <a:gd name="T28" fmla="*/ 1227 w 1426"/>
                <a:gd name="T29" fmla="*/ 74 h 1523"/>
                <a:gd name="T30" fmla="*/ 910 w 1426"/>
                <a:gd name="T31" fmla="*/ 428 h 1523"/>
                <a:gd name="T32" fmla="*/ 670 w 1426"/>
                <a:gd name="T33" fmla="*/ 739 h 1523"/>
                <a:gd name="T34" fmla="*/ 282 w 1426"/>
                <a:gd name="T35" fmla="*/ 319 h 1523"/>
                <a:gd name="T36" fmla="*/ 59 w 1426"/>
                <a:gd name="T37" fmla="*/ 143 h 1523"/>
                <a:gd name="T38" fmla="*/ 36 w 1426"/>
                <a:gd name="T39" fmla="*/ 146 h 1523"/>
                <a:gd name="T40" fmla="*/ 12 w 1426"/>
                <a:gd name="T41" fmla="*/ 164 h 1523"/>
                <a:gd name="T42" fmla="*/ 315 w 1426"/>
                <a:gd name="T43" fmla="*/ 490 h 1523"/>
                <a:gd name="T44" fmla="*/ 591 w 1426"/>
                <a:gd name="T45" fmla="*/ 872 h 1523"/>
                <a:gd name="T46" fmla="*/ 631 w 1426"/>
                <a:gd name="T47" fmla="*/ 829 h 1523"/>
                <a:gd name="T48" fmla="*/ 303 w 1426"/>
                <a:gd name="T49" fmla="*/ 1317 h 1523"/>
                <a:gd name="T50" fmla="*/ 184 w 1426"/>
                <a:gd name="T51" fmla="*/ 1466 h 1523"/>
                <a:gd name="T52" fmla="*/ 352 w 1426"/>
                <a:gd name="T53" fmla="*/ 1259 h 1523"/>
                <a:gd name="T54" fmla="*/ 464 w 1426"/>
                <a:gd name="T55" fmla="*/ 1109 h 1523"/>
                <a:gd name="T56" fmla="*/ 584 w 1426"/>
                <a:gd name="T57" fmla="*/ 917 h 1523"/>
                <a:gd name="T58" fmla="*/ 479 w 1426"/>
                <a:gd name="T59" fmla="*/ 1086 h 1523"/>
                <a:gd name="T60" fmla="*/ 363 w 1426"/>
                <a:gd name="T61" fmla="*/ 1292 h 1523"/>
                <a:gd name="T62" fmla="*/ 453 w 1426"/>
                <a:gd name="T63" fmla="*/ 1215 h 1523"/>
                <a:gd name="T64" fmla="*/ 393 w 1426"/>
                <a:gd name="T65" fmla="*/ 1305 h 1523"/>
                <a:gd name="T66" fmla="*/ 422 w 1426"/>
                <a:gd name="T67" fmla="*/ 1285 h 1523"/>
                <a:gd name="T68" fmla="*/ 691 w 1426"/>
                <a:gd name="T69" fmla="*/ 881 h 1523"/>
                <a:gd name="T70" fmla="*/ 698 w 1426"/>
                <a:gd name="T71" fmla="*/ 886 h 1523"/>
                <a:gd name="T72" fmla="*/ 874 w 1426"/>
                <a:gd name="T73" fmla="*/ 986 h 1523"/>
                <a:gd name="T74" fmla="*/ 1391 w 1426"/>
                <a:gd name="T75" fmla="*/ 1351 h 1523"/>
                <a:gd name="T76" fmla="*/ 1426 w 1426"/>
                <a:gd name="T77" fmla="*/ 1354 h 1523"/>
                <a:gd name="T78" fmla="*/ 1259 w 1426"/>
                <a:gd name="T79" fmla="*/ 96 h 1523"/>
                <a:gd name="T80" fmla="*/ 1076 w 1426"/>
                <a:gd name="T81" fmla="*/ 248 h 1523"/>
                <a:gd name="T82" fmla="*/ 108 w 1426"/>
                <a:gd name="T83" fmla="*/ 212 h 1523"/>
                <a:gd name="T84" fmla="*/ 743 w 1426"/>
                <a:gd name="T85" fmla="*/ 803 h 1523"/>
                <a:gd name="T86" fmla="*/ 899 w 1426"/>
                <a:gd name="T87" fmla="*/ 548 h 1523"/>
                <a:gd name="T88" fmla="*/ 1010 w 1426"/>
                <a:gd name="T89" fmla="*/ 320 h 1523"/>
                <a:gd name="T90" fmla="*/ 916 w 1426"/>
                <a:gd name="T91" fmla="*/ 448 h 1523"/>
                <a:gd name="T92" fmla="*/ 744 w 1426"/>
                <a:gd name="T93" fmla="*/ 707 h 1523"/>
                <a:gd name="T94" fmla="*/ 677 w 1426"/>
                <a:gd name="T95" fmla="*/ 751 h 1523"/>
                <a:gd name="T96" fmla="*/ 673 w 1426"/>
                <a:gd name="T97" fmla="*/ 747 h 1523"/>
                <a:gd name="T98" fmla="*/ 662 w 1426"/>
                <a:gd name="T99" fmla="*/ 755 h 1523"/>
                <a:gd name="T100" fmla="*/ 634 w 1426"/>
                <a:gd name="T101" fmla="*/ 708 h 1523"/>
                <a:gd name="T102" fmla="*/ 499 w 1426"/>
                <a:gd name="T103" fmla="*/ 597 h 1523"/>
                <a:gd name="T104" fmla="*/ 493 w 1426"/>
                <a:gd name="T105" fmla="*/ 656 h 1523"/>
                <a:gd name="T106" fmla="*/ 320 w 1426"/>
                <a:gd name="T107" fmla="*/ 470 h 1523"/>
                <a:gd name="T108" fmla="*/ 501 w 1426"/>
                <a:gd name="T109" fmla="*/ 655 h 1523"/>
                <a:gd name="T110" fmla="*/ 671 w 1426"/>
                <a:gd name="T111" fmla="*/ 750 h 1523"/>
                <a:gd name="T112" fmla="*/ 492 w 1426"/>
                <a:gd name="T113" fmla="*/ 1125 h 1523"/>
                <a:gd name="T114" fmla="*/ 440 w 1426"/>
                <a:gd name="T115" fmla="*/ 1184 h 1523"/>
                <a:gd name="T116" fmla="*/ 687 w 1426"/>
                <a:gd name="T117" fmla="*/ 877 h 1523"/>
                <a:gd name="T118" fmla="*/ 695 w 1426"/>
                <a:gd name="T119" fmla="*/ 866 h 1523"/>
                <a:gd name="T120" fmla="*/ 1049 w 1426"/>
                <a:gd name="T121" fmla="*/ 1053 h 1523"/>
                <a:gd name="T122" fmla="*/ 973 w 1426"/>
                <a:gd name="T123" fmla="*/ 1009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26" h="1523">
                  <a:moveTo>
                    <a:pt x="1175" y="1190"/>
                  </a:moveTo>
                  <a:cubicBezTo>
                    <a:pt x="1154" y="1173"/>
                    <a:pt x="1154" y="1173"/>
                    <a:pt x="1154" y="1173"/>
                  </a:cubicBezTo>
                  <a:cubicBezTo>
                    <a:pt x="1143" y="1166"/>
                    <a:pt x="1143" y="1166"/>
                    <a:pt x="1143" y="1166"/>
                  </a:cubicBezTo>
                  <a:cubicBezTo>
                    <a:pt x="1119" y="1150"/>
                    <a:pt x="1096" y="1134"/>
                    <a:pt x="1070" y="1116"/>
                  </a:cubicBezTo>
                  <a:cubicBezTo>
                    <a:pt x="1133" y="1158"/>
                    <a:pt x="1133" y="1158"/>
                    <a:pt x="1133" y="1158"/>
                  </a:cubicBezTo>
                  <a:cubicBezTo>
                    <a:pt x="1093" y="1126"/>
                    <a:pt x="1052" y="1091"/>
                    <a:pt x="1011" y="1063"/>
                  </a:cubicBezTo>
                  <a:cubicBezTo>
                    <a:pt x="988" y="1050"/>
                    <a:pt x="959" y="1029"/>
                    <a:pt x="932" y="1012"/>
                  </a:cubicBezTo>
                  <a:cubicBezTo>
                    <a:pt x="930" y="1012"/>
                    <a:pt x="930" y="1012"/>
                    <a:pt x="930" y="1012"/>
                  </a:cubicBezTo>
                  <a:cubicBezTo>
                    <a:pt x="925" y="1008"/>
                    <a:pt x="925" y="1008"/>
                    <a:pt x="925" y="1008"/>
                  </a:cubicBezTo>
                  <a:cubicBezTo>
                    <a:pt x="921" y="1006"/>
                    <a:pt x="917" y="1004"/>
                    <a:pt x="915" y="1003"/>
                  </a:cubicBezTo>
                  <a:cubicBezTo>
                    <a:pt x="887" y="985"/>
                    <a:pt x="860" y="967"/>
                    <a:pt x="832" y="948"/>
                  </a:cubicBezTo>
                  <a:cubicBezTo>
                    <a:pt x="824" y="943"/>
                    <a:pt x="824" y="943"/>
                    <a:pt x="824" y="943"/>
                  </a:cubicBezTo>
                  <a:cubicBezTo>
                    <a:pt x="816" y="938"/>
                    <a:pt x="807" y="930"/>
                    <a:pt x="800" y="924"/>
                  </a:cubicBezTo>
                  <a:cubicBezTo>
                    <a:pt x="811" y="932"/>
                    <a:pt x="820" y="939"/>
                    <a:pt x="832" y="948"/>
                  </a:cubicBezTo>
                  <a:cubicBezTo>
                    <a:pt x="865" y="968"/>
                    <a:pt x="892" y="981"/>
                    <a:pt x="925" y="1008"/>
                  </a:cubicBezTo>
                  <a:cubicBezTo>
                    <a:pt x="927" y="1009"/>
                    <a:pt x="929" y="1010"/>
                    <a:pt x="931" y="1011"/>
                  </a:cubicBezTo>
                  <a:cubicBezTo>
                    <a:pt x="932" y="1012"/>
                    <a:pt x="932" y="1012"/>
                    <a:pt x="932" y="1012"/>
                  </a:cubicBezTo>
                  <a:cubicBezTo>
                    <a:pt x="945" y="1014"/>
                    <a:pt x="968" y="1032"/>
                    <a:pt x="989" y="1048"/>
                  </a:cubicBezTo>
                  <a:cubicBezTo>
                    <a:pt x="986" y="1043"/>
                    <a:pt x="996" y="1052"/>
                    <a:pt x="998" y="1050"/>
                  </a:cubicBezTo>
                  <a:cubicBezTo>
                    <a:pt x="1022" y="1063"/>
                    <a:pt x="1046" y="1076"/>
                    <a:pt x="1066" y="1088"/>
                  </a:cubicBezTo>
                  <a:cubicBezTo>
                    <a:pt x="1097" y="1106"/>
                    <a:pt x="1124" y="1130"/>
                    <a:pt x="1154" y="1144"/>
                  </a:cubicBezTo>
                  <a:cubicBezTo>
                    <a:pt x="1162" y="1148"/>
                    <a:pt x="1176" y="1159"/>
                    <a:pt x="1187" y="1166"/>
                  </a:cubicBezTo>
                  <a:cubicBezTo>
                    <a:pt x="1204" y="1175"/>
                    <a:pt x="1204" y="1175"/>
                    <a:pt x="1204" y="1175"/>
                  </a:cubicBezTo>
                  <a:cubicBezTo>
                    <a:pt x="1189" y="1162"/>
                    <a:pt x="1189" y="1162"/>
                    <a:pt x="1189" y="1162"/>
                  </a:cubicBezTo>
                  <a:cubicBezTo>
                    <a:pt x="1186" y="1158"/>
                    <a:pt x="1284" y="1224"/>
                    <a:pt x="1283" y="1218"/>
                  </a:cubicBezTo>
                  <a:cubicBezTo>
                    <a:pt x="1284" y="1217"/>
                    <a:pt x="1203" y="1163"/>
                    <a:pt x="1148" y="1122"/>
                  </a:cubicBezTo>
                  <a:cubicBezTo>
                    <a:pt x="1139" y="1111"/>
                    <a:pt x="1168" y="1116"/>
                    <a:pt x="1176" y="1120"/>
                  </a:cubicBezTo>
                  <a:cubicBezTo>
                    <a:pt x="1179" y="1121"/>
                    <a:pt x="1179" y="1121"/>
                    <a:pt x="1179" y="1121"/>
                  </a:cubicBezTo>
                  <a:cubicBezTo>
                    <a:pt x="1155" y="1102"/>
                    <a:pt x="1155" y="1102"/>
                    <a:pt x="1155" y="1102"/>
                  </a:cubicBezTo>
                  <a:cubicBezTo>
                    <a:pt x="1114" y="1074"/>
                    <a:pt x="1114" y="1074"/>
                    <a:pt x="1114" y="1074"/>
                  </a:cubicBezTo>
                  <a:cubicBezTo>
                    <a:pt x="1048" y="1029"/>
                    <a:pt x="1048" y="1029"/>
                    <a:pt x="1048" y="1029"/>
                  </a:cubicBezTo>
                  <a:cubicBezTo>
                    <a:pt x="1067" y="1040"/>
                    <a:pt x="1067" y="1040"/>
                    <a:pt x="1067" y="1040"/>
                  </a:cubicBezTo>
                  <a:cubicBezTo>
                    <a:pt x="1077" y="1045"/>
                    <a:pt x="1077" y="1045"/>
                    <a:pt x="1077" y="1045"/>
                  </a:cubicBezTo>
                  <a:cubicBezTo>
                    <a:pt x="1102" y="1059"/>
                    <a:pt x="1128" y="1080"/>
                    <a:pt x="1155" y="1102"/>
                  </a:cubicBezTo>
                  <a:cubicBezTo>
                    <a:pt x="1170" y="1112"/>
                    <a:pt x="1186" y="1122"/>
                    <a:pt x="1201" y="1132"/>
                  </a:cubicBezTo>
                  <a:cubicBezTo>
                    <a:pt x="1202" y="1132"/>
                    <a:pt x="1202" y="1132"/>
                    <a:pt x="1202" y="1132"/>
                  </a:cubicBezTo>
                  <a:cubicBezTo>
                    <a:pt x="1184" y="1118"/>
                    <a:pt x="1166" y="1104"/>
                    <a:pt x="1148" y="1089"/>
                  </a:cubicBezTo>
                  <a:cubicBezTo>
                    <a:pt x="1113" y="1065"/>
                    <a:pt x="1077" y="1041"/>
                    <a:pt x="1041" y="1016"/>
                  </a:cubicBezTo>
                  <a:cubicBezTo>
                    <a:pt x="1060" y="1027"/>
                    <a:pt x="1060" y="1027"/>
                    <a:pt x="1060" y="1027"/>
                  </a:cubicBezTo>
                  <a:cubicBezTo>
                    <a:pt x="1088" y="1041"/>
                    <a:pt x="1118" y="1064"/>
                    <a:pt x="1148" y="1089"/>
                  </a:cubicBezTo>
                  <a:cubicBezTo>
                    <a:pt x="1181" y="1112"/>
                    <a:pt x="1215" y="1132"/>
                    <a:pt x="1248" y="1152"/>
                  </a:cubicBezTo>
                  <a:cubicBezTo>
                    <a:pt x="1227" y="1136"/>
                    <a:pt x="1203" y="1119"/>
                    <a:pt x="1182" y="1104"/>
                  </a:cubicBezTo>
                  <a:cubicBezTo>
                    <a:pt x="1096" y="1045"/>
                    <a:pt x="1018" y="991"/>
                    <a:pt x="937" y="936"/>
                  </a:cubicBezTo>
                  <a:cubicBezTo>
                    <a:pt x="926" y="931"/>
                    <a:pt x="915" y="925"/>
                    <a:pt x="906" y="919"/>
                  </a:cubicBezTo>
                  <a:cubicBezTo>
                    <a:pt x="882" y="904"/>
                    <a:pt x="859" y="885"/>
                    <a:pt x="835" y="868"/>
                  </a:cubicBezTo>
                  <a:cubicBezTo>
                    <a:pt x="837" y="872"/>
                    <a:pt x="826" y="865"/>
                    <a:pt x="826" y="866"/>
                  </a:cubicBezTo>
                  <a:cubicBezTo>
                    <a:pt x="802" y="854"/>
                    <a:pt x="778" y="834"/>
                    <a:pt x="755" y="814"/>
                  </a:cubicBezTo>
                  <a:cubicBezTo>
                    <a:pt x="752" y="811"/>
                    <a:pt x="753" y="810"/>
                    <a:pt x="750" y="807"/>
                  </a:cubicBezTo>
                  <a:cubicBezTo>
                    <a:pt x="748" y="806"/>
                    <a:pt x="746" y="804"/>
                    <a:pt x="744" y="803"/>
                  </a:cubicBezTo>
                  <a:cubicBezTo>
                    <a:pt x="744" y="803"/>
                    <a:pt x="744" y="802"/>
                    <a:pt x="744" y="802"/>
                  </a:cubicBezTo>
                  <a:cubicBezTo>
                    <a:pt x="746" y="803"/>
                    <a:pt x="747" y="804"/>
                    <a:pt x="749" y="806"/>
                  </a:cubicBezTo>
                  <a:cubicBezTo>
                    <a:pt x="750" y="807"/>
                    <a:pt x="750" y="807"/>
                    <a:pt x="750" y="807"/>
                  </a:cubicBezTo>
                  <a:cubicBezTo>
                    <a:pt x="809" y="853"/>
                    <a:pt x="876" y="892"/>
                    <a:pt x="937" y="936"/>
                  </a:cubicBezTo>
                  <a:cubicBezTo>
                    <a:pt x="947" y="940"/>
                    <a:pt x="947" y="940"/>
                    <a:pt x="947" y="940"/>
                  </a:cubicBezTo>
                  <a:cubicBezTo>
                    <a:pt x="908" y="909"/>
                    <a:pt x="869" y="880"/>
                    <a:pt x="827" y="856"/>
                  </a:cubicBezTo>
                  <a:cubicBezTo>
                    <a:pt x="819" y="852"/>
                    <a:pt x="807" y="847"/>
                    <a:pt x="800" y="842"/>
                  </a:cubicBezTo>
                  <a:cubicBezTo>
                    <a:pt x="782" y="828"/>
                    <a:pt x="763" y="814"/>
                    <a:pt x="745" y="801"/>
                  </a:cubicBezTo>
                  <a:cubicBezTo>
                    <a:pt x="749" y="795"/>
                    <a:pt x="752" y="789"/>
                    <a:pt x="756" y="784"/>
                  </a:cubicBezTo>
                  <a:cubicBezTo>
                    <a:pt x="744" y="800"/>
                    <a:pt x="744" y="800"/>
                    <a:pt x="744" y="800"/>
                  </a:cubicBezTo>
                  <a:cubicBezTo>
                    <a:pt x="743" y="800"/>
                    <a:pt x="742" y="799"/>
                    <a:pt x="741" y="798"/>
                  </a:cubicBezTo>
                  <a:cubicBezTo>
                    <a:pt x="760" y="767"/>
                    <a:pt x="785" y="735"/>
                    <a:pt x="810" y="704"/>
                  </a:cubicBezTo>
                  <a:cubicBezTo>
                    <a:pt x="819" y="692"/>
                    <a:pt x="827" y="680"/>
                    <a:pt x="837" y="669"/>
                  </a:cubicBezTo>
                  <a:cubicBezTo>
                    <a:pt x="810" y="704"/>
                    <a:pt x="810" y="704"/>
                    <a:pt x="810" y="704"/>
                  </a:cubicBezTo>
                  <a:cubicBezTo>
                    <a:pt x="791" y="730"/>
                    <a:pt x="773" y="757"/>
                    <a:pt x="756" y="784"/>
                  </a:cubicBezTo>
                  <a:cubicBezTo>
                    <a:pt x="800" y="719"/>
                    <a:pt x="844" y="659"/>
                    <a:pt x="891" y="598"/>
                  </a:cubicBezTo>
                  <a:cubicBezTo>
                    <a:pt x="936" y="540"/>
                    <a:pt x="976" y="484"/>
                    <a:pt x="1018" y="429"/>
                  </a:cubicBezTo>
                  <a:cubicBezTo>
                    <a:pt x="1035" y="406"/>
                    <a:pt x="1053" y="384"/>
                    <a:pt x="1072" y="364"/>
                  </a:cubicBezTo>
                  <a:cubicBezTo>
                    <a:pt x="1069" y="371"/>
                    <a:pt x="1069" y="371"/>
                    <a:pt x="1069" y="371"/>
                  </a:cubicBezTo>
                  <a:cubicBezTo>
                    <a:pt x="1093" y="346"/>
                    <a:pt x="1116" y="320"/>
                    <a:pt x="1138" y="293"/>
                  </a:cubicBezTo>
                  <a:cubicBezTo>
                    <a:pt x="1144" y="285"/>
                    <a:pt x="1144" y="285"/>
                    <a:pt x="1144" y="285"/>
                  </a:cubicBezTo>
                  <a:cubicBezTo>
                    <a:pt x="1192" y="230"/>
                    <a:pt x="1235" y="183"/>
                    <a:pt x="1289" y="131"/>
                  </a:cubicBezTo>
                  <a:cubicBezTo>
                    <a:pt x="1302" y="119"/>
                    <a:pt x="1314" y="104"/>
                    <a:pt x="1328" y="92"/>
                  </a:cubicBezTo>
                  <a:cubicBezTo>
                    <a:pt x="1337" y="82"/>
                    <a:pt x="1315" y="92"/>
                    <a:pt x="1331" y="76"/>
                  </a:cubicBezTo>
                  <a:cubicBezTo>
                    <a:pt x="1328" y="77"/>
                    <a:pt x="1328" y="77"/>
                    <a:pt x="1328" y="77"/>
                  </a:cubicBezTo>
                  <a:cubicBezTo>
                    <a:pt x="1316" y="90"/>
                    <a:pt x="1306" y="103"/>
                    <a:pt x="1301" y="104"/>
                  </a:cubicBezTo>
                  <a:cubicBezTo>
                    <a:pt x="1293" y="105"/>
                    <a:pt x="1315" y="80"/>
                    <a:pt x="1328" y="62"/>
                  </a:cubicBezTo>
                  <a:cubicBezTo>
                    <a:pt x="1328" y="59"/>
                    <a:pt x="1328" y="59"/>
                    <a:pt x="1328" y="59"/>
                  </a:cubicBezTo>
                  <a:cubicBezTo>
                    <a:pt x="1328" y="59"/>
                    <a:pt x="1330" y="57"/>
                    <a:pt x="1333" y="54"/>
                  </a:cubicBezTo>
                  <a:cubicBezTo>
                    <a:pt x="1334" y="52"/>
                    <a:pt x="1334" y="52"/>
                    <a:pt x="1334" y="52"/>
                  </a:cubicBezTo>
                  <a:cubicBezTo>
                    <a:pt x="1332" y="51"/>
                    <a:pt x="1332" y="49"/>
                    <a:pt x="1332" y="47"/>
                  </a:cubicBezTo>
                  <a:cubicBezTo>
                    <a:pt x="1314" y="64"/>
                    <a:pt x="1314" y="64"/>
                    <a:pt x="1314" y="64"/>
                  </a:cubicBezTo>
                  <a:cubicBezTo>
                    <a:pt x="1317" y="56"/>
                    <a:pt x="1321" y="49"/>
                    <a:pt x="1329" y="39"/>
                  </a:cubicBezTo>
                  <a:cubicBezTo>
                    <a:pt x="1329" y="39"/>
                    <a:pt x="1329" y="39"/>
                    <a:pt x="1329" y="39"/>
                  </a:cubicBezTo>
                  <a:cubicBezTo>
                    <a:pt x="1329" y="38"/>
                    <a:pt x="1329" y="38"/>
                    <a:pt x="1329" y="38"/>
                  </a:cubicBezTo>
                  <a:cubicBezTo>
                    <a:pt x="1335" y="32"/>
                    <a:pt x="1335" y="32"/>
                    <a:pt x="1335" y="32"/>
                  </a:cubicBezTo>
                  <a:cubicBezTo>
                    <a:pt x="1335" y="32"/>
                    <a:pt x="1335" y="32"/>
                    <a:pt x="1335" y="32"/>
                  </a:cubicBezTo>
                  <a:cubicBezTo>
                    <a:pt x="1289" y="62"/>
                    <a:pt x="1323" y="24"/>
                    <a:pt x="1329" y="0"/>
                  </a:cubicBezTo>
                  <a:cubicBezTo>
                    <a:pt x="1325" y="3"/>
                    <a:pt x="1321" y="7"/>
                    <a:pt x="1316" y="12"/>
                  </a:cubicBezTo>
                  <a:cubicBezTo>
                    <a:pt x="1316" y="11"/>
                    <a:pt x="1314" y="9"/>
                    <a:pt x="1314" y="9"/>
                  </a:cubicBezTo>
                  <a:cubicBezTo>
                    <a:pt x="1281" y="36"/>
                    <a:pt x="1257" y="52"/>
                    <a:pt x="1227" y="74"/>
                  </a:cubicBezTo>
                  <a:cubicBezTo>
                    <a:pt x="1219" y="80"/>
                    <a:pt x="1216" y="76"/>
                    <a:pt x="1206" y="86"/>
                  </a:cubicBezTo>
                  <a:cubicBezTo>
                    <a:pt x="1179" y="112"/>
                    <a:pt x="1151" y="138"/>
                    <a:pt x="1127" y="167"/>
                  </a:cubicBezTo>
                  <a:cubicBezTo>
                    <a:pt x="1074" y="227"/>
                    <a:pt x="1025" y="285"/>
                    <a:pt x="975" y="344"/>
                  </a:cubicBezTo>
                  <a:cubicBezTo>
                    <a:pt x="976" y="344"/>
                    <a:pt x="976" y="344"/>
                    <a:pt x="976" y="344"/>
                  </a:cubicBezTo>
                  <a:cubicBezTo>
                    <a:pt x="940" y="387"/>
                    <a:pt x="940" y="387"/>
                    <a:pt x="940" y="387"/>
                  </a:cubicBezTo>
                  <a:cubicBezTo>
                    <a:pt x="928" y="401"/>
                    <a:pt x="922" y="414"/>
                    <a:pt x="910" y="428"/>
                  </a:cubicBezTo>
                  <a:cubicBezTo>
                    <a:pt x="830" y="525"/>
                    <a:pt x="757" y="622"/>
                    <a:pt x="686" y="721"/>
                  </a:cubicBezTo>
                  <a:cubicBezTo>
                    <a:pt x="683" y="728"/>
                    <a:pt x="679" y="736"/>
                    <a:pt x="675" y="743"/>
                  </a:cubicBezTo>
                  <a:cubicBezTo>
                    <a:pt x="674" y="742"/>
                    <a:pt x="673" y="742"/>
                    <a:pt x="672" y="741"/>
                  </a:cubicBezTo>
                  <a:cubicBezTo>
                    <a:pt x="686" y="721"/>
                    <a:pt x="686" y="721"/>
                    <a:pt x="686" y="721"/>
                  </a:cubicBezTo>
                  <a:cubicBezTo>
                    <a:pt x="689" y="714"/>
                    <a:pt x="689" y="714"/>
                    <a:pt x="689" y="714"/>
                  </a:cubicBezTo>
                  <a:cubicBezTo>
                    <a:pt x="682" y="722"/>
                    <a:pt x="676" y="731"/>
                    <a:pt x="670" y="739"/>
                  </a:cubicBezTo>
                  <a:cubicBezTo>
                    <a:pt x="626" y="699"/>
                    <a:pt x="586" y="658"/>
                    <a:pt x="546" y="613"/>
                  </a:cubicBezTo>
                  <a:cubicBezTo>
                    <a:pt x="498" y="560"/>
                    <a:pt x="452" y="511"/>
                    <a:pt x="404" y="462"/>
                  </a:cubicBezTo>
                  <a:cubicBezTo>
                    <a:pt x="385" y="442"/>
                    <a:pt x="368" y="420"/>
                    <a:pt x="350" y="399"/>
                  </a:cubicBezTo>
                  <a:cubicBezTo>
                    <a:pt x="356" y="402"/>
                    <a:pt x="356" y="402"/>
                    <a:pt x="356" y="402"/>
                  </a:cubicBezTo>
                  <a:cubicBezTo>
                    <a:pt x="335" y="376"/>
                    <a:pt x="313" y="351"/>
                    <a:pt x="288" y="326"/>
                  </a:cubicBezTo>
                  <a:cubicBezTo>
                    <a:pt x="282" y="319"/>
                    <a:pt x="282" y="319"/>
                    <a:pt x="282" y="319"/>
                  </a:cubicBezTo>
                  <a:cubicBezTo>
                    <a:pt x="230" y="267"/>
                    <a:pt x="186" y="223"/>
                    <a:pt x="131" y="173"/>
                  </a:cubicBezTo>
                  <a:cubicBezTo>
                    <a:pt x="117" y="161"/>
                    <a:pt x="102" y="150"/>
                    <a:pt x="88" y="139"/>
                  </a:cubicBezTo>
                  <a:cubicBezTo>
                    <a:pt x="77" y="131"/>
                    <a:pt x="90" y="151"/>
                    <a:pt x="72" y="137"/>
                  </a:cubicBezTo>
                  <a:cubicBezTo>
                    <a:pt x="74" y="141"/>
                    <a:pt x="74" y="141"/>
                    <a:pt x="74" y="141"/>
                  </a:cubicBezTo>
                  <a:cubicBezTo>
                    <a:pt x="88" y="150"/>
                    <a:pt x="101" y="158"/>
                    <a:pt x="103" y="163"/>
                  </a:cubicBezTo>
                  <a:cubicBezTo>
                    <a:pt x="105" y="171"/>
                    <a:pt x="78" y="152"/>
                    <a:pt x="59" y="143"/>
                  </a:cubicBezTo>
                  <a:cubicBezTo>
                    <a:pt x="55" y="144"/>
                    <a:pt x="55" y="144"/>
                    <a:pt x="55" y="144"/>
                  </a:cubicBezTo>
                  <a:cubicBezTo>
                    <a:pt x="55" y="144"/>
                    <a:pt x="53" y="142"/>
                    <a:pt x="50" y="140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48" y="141"/>
                    <a:pt x="46" y="142"/>
                    <a:pt x="44" y="142"/>
                  </a:cubicBezTo>
                  <a:cubicBezTo>
                    <a:pt x="62" y="157"/>
                    <a:pt x="62" y="157"/>
                    <a:pt x="62" y="157"/>
                  </a:cubicBezTo>
                  <a:cubicBezTo>
                    <a:pt x="54" y="155"/>
                    <a:pt x="47" y="152"/>
                    <a:pt x="36" y="146"/>
                  </a:cubicBezTo>
                  <a:cubicBezTo>
                    <a:pt x="36" y="146"/>
                    <a:pt x="36" y="146"/>
                    <a:pt x="36" y="146"/>
                  </a:cubicBezTo>
                  <a:cubicBezTo>
                    <a:pt x="35" y="146"/>
                    <a:pt x="35" y="146"/>
                    <a:pt x="35" y="146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63" y="182"/>
                    <a:pt x="23" y="154"/>
                    <a:pt x="0" y="155"/>
                  </a:cubicBezTo>
                  <a:cubicBezTo>
                    <a:pt x="3" y="157"/>
                    <a:pt x="7" y="161"/>
                    <a:pt x="12" y="164"/>
                  </a:cubicBezTo>
                  <a:cubicBezTo>
                    <a:pt x="12" y="165"/>
                    <a:pt x="10" y="166"/>
                    <a:pt x="10" y="166"/>
                  </a:cubicBezTo>
                  <a:cubicBezTo>
                    <a:pt x="39" y="193"/>
                    <a:pt x="56" y="211"/>
                    <a:pt x="78" y="239"/>
                  </a:cubicBezTo>
                  <a:cubicBezTo>
                    <a:pt x="83" y="246"/>
                    <a:pt x="80" y="249"/>
                    <a:pt x="90" y="258"/>
                  </a:cubicBezTo>
                  <a:cubicBezTo>
                    <a:pt x="115" y="281"/>
                    <a:pt x="138" y="307"/>
                    <a:pt x="163" y="331"/>
                  </a:cubicBezTo>
                  <a:cubicBezTo>
                    <a:pt x="218" y="382"/>
                    <a:pt x="266" y="435"/>
                    <a:pt x="315" y="491"/>
                  </a:cubicBezTo>
                  <a:cubicBezTo>
                    <a:pt x="315" y="490"/>
                    <a:pt x="315" y="490"/>
                    <a:pt x="315" y="490"/>
                  </a:cubicBezTo>
                  <a:cubicBezTo>
                    <a:pt x="350" y="530"/>
                    <a:pt x="350" y="530"/>
                    <a:pt x="350" y="530"/>
                  </a:cubicBezTo>
                  <a:cubicBezTo>
                    <a:pt x="362" y="544"/>
                    <a:pt x="373" y="552"/>
                    <a:pt x="385" y="566"/>
                  </a:cubicBezTo>
                  <a:cubicBezTo>
                    <a:pt x="459" y="654"/>
                    <a:pt x="533" y="739"/>
                    <a:pt x="619" y="817"/>
                  </a:cubicBezTo>
                  <a:cubicBezTo>
                    <a:pt x="607" y="834"/>
                    <a:pt x="607" y="834"/>
                    <a:pt x="607" y="834"/>
                  </a:cubicBezTo>
                  <a:cubicBezTo>
                    <a:pt x="579" y="876"/>
                    <a:pt x="554" y="915"/>
                    <a:pt x="530" y="954"/>
                  </a:cubicBezTo>
                  <a:cubicBezTo>
                    <a:pt x="591" y="872"/>
                    <a:pt x="591" y="872"/>
                    <a:pt x="591" y="872"/>
                  </a:cubicBezTo>
                  <a:cubicBezTo>
                    <a:pt x="603" y="854"/>
                    <a:pt x="613" y="837"/>
                    <a:pt x="622" y="820"/>
                  </a:cubicBezTo>
                  <a:cubicBezTo>
                    <a:pt x="623" y="821"/>
                    <a:pt x="624" y="823"/>
                    <a:pt x="626" y="824"/>
                  </a:cubicBezTo>
                  <a:cubicBezTo>
                    <a:pt x="597" y="867"/>
                    <a:pt x="567" y="910"/>
                    <a:pt x="547" y="944"/>
                  </a:cubicBezTo>
                  <a:cubicBezTo>
                    <a:pt x="588" y="889"/>
                    <a:pt x="588" y="889"/>
                    <a:pt x="588" y="889"/>
                  </a:cubicBezTo>
                  <a:cubicBezTo>
                    <a:pt x="603" y="867"/>
                    <a:pt x="615" y="845"/>
                    <a:pt x="626" y="824"/>
                  </a:cubicBezTo>
                  <a:cubicBezTo>
                    <a:pt x="628" y="826"/>
                    <a:pt x="629" y="827"/>
                    <a:pt x="631" y="829"/>
                  </a:cubicBezTo>
                  <a:cubicBezTo>
                    <a:pt x="631" y="829"/>
                    <a:pt x="631" y="829"/>
                    <a:pt x="630" y="829"/>
                  </a:cubicBezTo>
                  <a:cubicBezTo>
                    <a:pt x="628" y="828"/>
                    <a:pt x="628" y="828"/>
                    <a:pt x="628" y="828"/>
                  </a:cubicBezTo>
                  <a:cubicBezTo>
                    <a:pt x="628" y="829"/>
                    <a:pt x="629" y="829"/>
                    <a:pt x="630" y="830"/>
                  </a:cubicBezTo>
                  <a:cubicBezTo>
                    <a:pt x="598" y="880"/>
                    <a:pt x="562" y="930"/>
                    <a:pt x="540" y="968"/>
                  </a:cubicBezTo>
                  <a:cubicBezTo>
                    <a:pt x="497" y="1041"/>
                    <a:pt x="444" y="1117"/>
                    <a:pt x="385" y="1194"/>
                  </a:cubicBezTo>
                  <a:cubicBezTo>
                    <a:pt x="359" y="1235"/>
                    <a:pt x="332" y="1276"/>
                    <a:pt x="303" y="1317"/>
                  </a:cubicBezTo>
                  <a:cubicBezTo>
                    <a:pt x="328" y="1278"/>
                    <a:pt x="355" y="1239"/>
                    <a:pt x="383" y="1197"/>
                  </a:cubicBezTo>
                  <a:cubicBezTo>
                    <a:pt x="352" y="1238"/>
                    <a:pt x="319" y="1279"/>
                    <a:pt x="286" y="1319"/>
                  </a:cubicBezTo>
                  <a:cubicBezTo>
                    <a:pt x="252" y="1367"/>
                    <a:pt x="216" y="1410"/>
                    <a:pt x="179" y="1458"/>
                  </a:cubicBezTo>
                  <a:cubicBezTo>
                    <a:pt x="171" y="1469"/>
                    <a:pt x="162" y="1479"/>
                    <a:pt x="158" y="1488"/>
                  </a:cubicBezTo>
                  <a:cubicBezTo>
                    <a:pt x="152" y="1508"/>
                    <a:pt x="152" y="1508"/>
                    <a:pt x="152" y="1508"/>
                  </a:cubicBezTo>
                  <a:cubicBezTo>
                    <a:pt x="164" y="1494"/>
                    <a:pt x="175" y="1479"/>
                    <a:pt x="184" y="1466"/>
                  </a:cubicBezTo>
                  <a:cubicBezTo>
                    <a:pt x="183" y="1468"/>
                    <a:pt x="184" y="1468"/>
                    <a:pt x="185" y="1469"/>
                  </a:cubicBezTo>
                  <a:cubicBezTo>
                    <a:pt x="201" y="1449"/>
                    <a:pt x="211" y="1434"/>
                    <a:pt x="227" y="1414"/>
                  </a:cubicBezTo>
                  <a:cubicBezTo>
                    <a:pt x="209" y="1447"/>
                    <a:pt x="180" y="1481"/>
                    <a:pt x="151" y="1516"/>
                  </a:cubicBezTo>
                  <a:cubicBezTo>
                    <a:pt x="150" y="1523"/>
                    <a:pt x="150" y="1523"/>
                    <a:pt x="150" y="1523"/>
                  </a:cubicBezTo>
                  <a:cubicBezTo>
                    <a:pt x="212" y="1453"/>
                    <a:pt x="271" y="1378"/>
                    <a:pt x="324" y="1301"/>
                  </a:cubicBezTo>
                  <a:cubicBezTo>
                    <a:pt x="352" y="1259"/>
                    <a:pt x="352" y="1259"/>
                    <a:pt x="352" y="1259"/>
                  </a:cubicBezTo>
                  <a:cubicBezTo>
                    <a:pt x="335" y="1278"/>
                    <a:pt x="335" y="1278"/>
                    <a:pt x="335" y="1278"/>
                  </a:cubicBezTo>
                  <a:cubicBezTo>
                    <a:pt x="352" y="1256"/>
                    <a:pt x="352" y="1256"/>
                    <a:pt x="352" y="1256"/>
                  </a:cubicBezTo>
                  <a:cubicBezTo>
                    <a:pt x="361" y="1246"/>
                    <a:pt x="361" y="1246"/>
                    <a:pt x="361" y="1246"/>
                  </a:cubicBezTo>
                  <a:cubicBezTo>
                    <a:pt x="376" y="1222"/>
                    <a:pt x="393" y="1197"/>
                    <a:pt x="411" y="1171"/>
                  </a:cubicBezTo>
                  <a:cubicBezTo>
                    <a:pt x="369" y="1235"/>
                    <a:pt x="369" y="1235"/>
                    <a:pt x="369" y="1235"/>
                  </a:cubicBezTo>
                  <a:cubicBezTo>
                    <a:pt x="401" y="1194"/>
                    <a:pt x="436" y="1152"/>
                    <a:pt x="464" y="1109"/>
                  </a:cubicBezTo>
                  <a:cubicBezTo>
                    <a:pt x="477" y="1085"/>
                    <a:pt x="498" y="1056"/>
                    <a:pt x="515" y="1028"/>
                  </a:cubicBezTo>
                  <a:cubicBezTo>
                    <a:pt x="515" y="1026"/>
                    <a:pt x="515" y="1026"/>
                    <a:pt x="515" y="1026"/>
                  </a:cubicBezTo>
                  <a:cubicBezTo>
                    <a:pt x="519" y="1021"/>
                    <a:pt x="519" y="1021"/>
                    <a:pt x="519" y="1021"/>
                  </a:cubicBezTo>
                  <a:cubicBezTo>
                    <a:pt x="521" y="1017"/>
                    <a:pt x="523" y="1013"/>
                    <a:pt x="524" y="1010"/>
                  </a:cubicBezTo>
                  <a:cubicBezTo>
                    <a:pt x="542" y="982"/>
                    <a:pt x="559" y="953"/>
                    <a:pt x="579" y="924"/>
                  </a:cubicBezTo>
                  <a:cubicBezTo>
                    <a:pt x="584" y="917"/>
                    <a:pt x="584" y="917"/>
                    <a:pt x="584" y="917"/>
                  </a:cubicBezTo>
                  <a:cubicBezTo>
                    <a:pt x="588" y="908"/>
                    <a:pt x="598" y="898"/>
                    <a:pt x="603" y="891"/>
                  </a:cubicBezTo>
                  <a:cubicBezTo>
                    <a:pt x="579" y="924"/>
                    <a:pt x="579" y="924"/>
                    <a:pt x="579" y="924"/>
                  </a:cubicBezTo>
                  <a:cubicBezTo>
                    <a:pt x="559" y="959"/>
                    <a:pt x="546" y="987"/>
                    <a:pt x="519" y="1021"/>
                  </a:cubicBezTo>
                  <a:cubicBezTo>
                    <a:pt x="518" y="1023"/>
                    <a:pt x="517" y="1025"/>
                    <a:pt x="516" y="1027"/>
                  </a:cubicBezTo>
                  <a:cubicBezTo>
                    <a:pt x="515" y="1028"/>
                    <a:pt x="515" y="1028"/>
                    <a:pt x="515" y="1028"/>
                  </a:cubicBezTo>
                  <a:cubicBezTo>
                    <a:pt x="513" y="1042"/>
                    <a:pt x="495" y="1066"/>
                    <a:pt x="479" y="1086"/>
                  </a:cubicBezTo>
                  <a:cubicBezTo>
                    <a:pt x="484" y="1084"/>
                    <a:pt x="475" y="1094"/>
                    <a:pt x="477" y="1096"/>
                  </a:cubicBezTo>
                  <a:cubicBezTo>
                    <a:pt x="464" y="1121"/>
                    <a:pt x="451" y="1146"/>
                    <a:pt x="440" y="1166"/>
                  </a:cubicBezTo>
                  <a:cubicBezTo>
                    <a:pt x="421" y="1198"/>
                    <a:pt x="396" y="1226"/>
                    <a:pt x="382" y="1256"/>
                  </a:cubicBezTo>
                  <a:cubicBezTo>
                    <a:pt x="378" y="1265"/>
                    <a:pt x="366" y="1279"/>
                    <a:pt x="358" y="1290"/>
                  </a:cubicBezTo>
                  <a:cubicBezTo>
                    <a:pt x="349" y="1307"/>
                    <a:pt x="349" y="1307"/>
                    <a:pt x="349" y="1307"/>
                  </a:cubicBezTo>
                  <a:cubicBezTo>
                    <a:pt x="363" y="1292"/>
                    <a:pt x="363" y="1292"/>
                    <a:pt x="363" y="1292"/>
                  </a:cubicBezTo>
                  <a:cubicBezTo>
                    <a:pt x="367" y="1289"/>
                    <a:pt x="296" y="1389"/>
                    <a:pt x="302" y="1388"/>
                  </a:cubicBezTo>
                  <a:cubicBezTo>
                    <a:pt x="303" y="1388"/>
                    <a:pt x="361" y="1307"/>
                    <a:pt x="405" y="1250"/>
                  </a:cubicBezTo>
                  <a:cubicBezTo>
                    <a:pt x="416" y="1241"/>
                    <a:pt x="411" y="1270"/>
                    <a:pt x="406" y="1278"/>
                  </a:cubicBezTo>
                  <a:cubicBezTo>
                    <a:pt x="405" y="1282"/>
                    <a:pt x="405" y="1282"/>
                    <a:pt x="405" y="1282"/>
                  </a:cubicBezTo>
                  <a:cubicBezTo>
                    <a:pt x="425" y="1257"/>
                    <a:pt x="425" y="1257"/>
                    <a:pt x="425" y="1257"/>
                  </a:cubicBezTo>
                  <a:cubicBezTo>
                    <a:pt x="453" y="1215"/>
                    <a:pt x="453" y="1215"/>
                    <a:pt x="453" y="1215"/>
                  </a:cubicBezTo>
                  <a:cubicBezTo>
                    <a:pt x="499" y="1146"/>
                    <a:pt x="499" y="1146"/>
                    <a:pt x="499" y="1146"/>
                  </a:cubicBezTo>
                  <a:cubicBezTo>
                    <a:pt x="488" y="1166"/>
                    <a:pt x="488" y="1166"/>
                    <a:pt x="488" y="1166"/>
                  </a:cubicBezTo>
                  <a:cubicBezTo>
                    <a:pt x="483" y="1176"/>
                    <a:pt x="483" y="1176"/>
                    <a:pt x="483" y="1176"/>
                  </a:cubicBezTo>
                  <a:cubicBezTo>
                    <a:pt x="469" y="1202"/>
                    <a:pt x="447" y="1229"/>
                    <a:pt x="425" y="1257"/>
                  </a:cubicBezTo>
                  <a:cubicBezTo>
                    <a:pt x="393" y="1304"/>
                    <a:pt x="393" y="1304"/>
                    <a:pt x="393" y="1304"/>
                  </a:cubicBezTo>
                  <a:cubicBezTo>
                    <a:pt x="393" y="1305"/>
                    <a:pt x="393" y="1305"/>
                    <a:pt x="393" y="1305"/>
                  </a:cubicBezTo>
                  <a:cubicBezTo>
                    <a:pt x="438" y="1249"/>
                    <a:pt x="438" y="1249"/>
                    <a:pt x="438" y="1249"/>
                  </a:cubicBezTo>
                  <a:cubicBezTo>
                    <a:pt x="512" y="1139"/>
                    <a:pt x="512" y="1139"/>
                    <a:pt x="512" y="1139"/>
                  </a:cubicBezTo>
                  <a:cubicBezTo>
                    <a:pt x="501" y="1158"/>
                    <a:pt x="501" y="1158"/>
                    <a:pt x="501" y="1158"/>
                  </a:cubicBezTo>
                  <a:cubicBezTo>
                    <a:pt x="487" y="1187"/>
                    <a:pt x="463" y="1218"/>
                    <a:pt x="438" y="1249"/>
                  </a:cubicBezTo>
                  <a:cubicBezTo>
                    <a:pt x="415" y="1284"/>
                    <a:pt x="392" y="1318"/>
                    <a:pt x="371" y="1352"/>
                  </a:cubicBezTo>
                  <a:cubicBezTo>
                    <a:pt x="387" y="1331"/>
                    <a:pt x="407" y="1307"/>
                    <a:pt x="422" y="1285"/>
                  </a:cubicBezTo>
                  <a:cubicBezTo>
                    <a:pt x="483" y="1196"/>
                    <a:pt x="537" y="1114"/>
                    <a:pt x="592" y="1031"/>
                  </a:cubicBezTo>
                  <a:cubicBezTo>
                    <a:pt x="597" y="1020"/>
                    <a:pt x="602" y="1009"/>
                    <a:pt x="609" y="999"/>
                  </a:cubicBezTo>
                  <a:cubicBezTo>
                    <a:pt x="623" y="975"/>
                    <a:pt x="643" y="949"/>
                    <a:pt x="658" y="926"/>
                  </a:cubicBezTo>
                  <a:cubicBezTo>
                    <a:pt x="654" y="929"/>
                    <a:pt x="662" y="918"/>
                    <a:pt x="661" y="917"/>
                  </a:cubicBezTo>
                  <a:cubicBezTo>
                    <a:pt x="668" y="904"/>
                    <a:pt x="676" y="891"/>
                    <a:pt x="686" y="878"/>
                  </a:cubicBezTo>
                  <a:cubicBezTo>
                    <a:pt x="688" y="879"/>
                    <a:pt x="689" y="880"/>
                    <a:pt x="691" y="881"/>
                  </a:cubicBezTo>
                  <a:cubicBezTo>
                    <a:pt x="656" y="932"/>
                    <a:pt x="624" y="982"/>
                    <a:pt x="592" y="1031"/>
                  </a:cubicBezTo>
                  <a:cubicBezTo>
                    <a:pt x="587" y="1041"/>
                    <a:pt x="587" y="1041"/>
                    <a:pt x="587" y="1041"/>
                  </a:cubicBezTo>
                  <a:cubicBezTo>
                    <a:pt x="618" y="1001"/>
                    <a:pt x="648" y="959"/>
                    <a:pt x="670" y="918"/>
                  </a:cubicBezTo>
                  <a:cubicBezTo>
                    <a:pt x="675" y="910"/>
                    <a:pt x="680" y="897"/>
                    <a:pt x="686" y="890"/>
                  </a:cubicBezTo>
                  <a:cubicBezTo>
                    <a:pt x="688" y="887"/>
                    <a:pt x="690" y="884"/>
                    <a:pt x="692" y="881"/>
                  </a:cubicBezTo>
                  <a:cubicBezTo>
                    <a:pt x="694" y="883"/>
                    <a:pt x="696" y="884"/>
                    <a:pt x="698" y="886"/>
                  </a:cubicBezTo>
                  <a:cubicBezTo>
                    <a:pt x="696" y="884"/>
                    <a:pt x="694" y="882"/>
                    <a:pt x="692" y="881"/>
                  </a:cubicBezTo>
                  <a:cubicBezTo>
                    <a:pt x="693" y="879"/>
                    <a:pt x="694" y="878"/>
                    <a:pt x="695" y="876"/>
                  </a:cubicBezTo>
                  <a:cubicBezTo>
                    <a:pt x="707" y="885"/>
                    <a:pt x="719" y="892"/>
                    <a:pt x="731" y="899"/>
                  </a:cubicBezTo>
                  <a:cubicBezTo>
                    <a:pt x="719" y="890"/>
                    <a:pt x="708" y="882"/>
                    <a:pt x="697" y="874"/>
                  </a:cubicBezTo>
                  <a:cubicBezTo>
                    <a:pt x="698" y="873"/>
                    <a:pt x="699" y="871"/>
                    <a:pt x="700" y="869"/>
                  </a:cubicBezTo>
                  <a:cubicBezTo>
                    <a:pt x="759" y="909"/>
                    <a:pt x="828" y="959"/>
                    <a:pt x="874" y="986"/>
                  </a:cubicBezTo>
                  <a:cubicBezTo>
                    <a:pt x="944" y="1029"/>
                    <a:pt x="1018" y="1084"/>
                    <a:pt x="1093" y="1142"/>
                  </a:cubicBezTo>
                  <a:cubicBezTo>
                    <a:pt x="1132" y="1168"/>
                    <a:pt x="1173" y="1193"/>
                    <a:pt x="1214" y="1220"/>
                  </a:cubicBezTo>
                  <a:cubicBezTo>
                    <a:pt x="1176" y="1196"/>
                    <a:pt x="1136" y="1172"/>
                    <a:pt x="1095" y="1144"/>
                  </a:cubicBezTo>
                  <a:cubicBezTo>
                    <a:pt x="1135" y="1175"/>
                    <a:pt x="1176" y="1205"/>
                    <a:pt x="1217" y="1237"/>
                  </a:cubicBezTo>
                  <a:cubicBezTo>
                    <a:pt x="1264" y="1270"/>
                    <a:pt x="1309" y="1302"/>
                    <a:pt x="1359" y="1333"/>
                  </a:cubicBezTo>
                  <a:cubicBezTo>
                    <a:pt x="1371" y="1340"/>
                    <a:pt x="1382" y="1348"/>
                    <a:pt x="1391" y="1351"/>
                  </a:cubicBezTo>
                  <a:cubicBezTo>
                    <a:pt x="1411" y="1354"/>
                    <a:pt x="1411" y="1354"/>
                    <a:pt x="1411" y="1354"/>
                  </a:cubicBezTo>
                  <a:cubicBezTo>
                    <a:pt x="1396" y="1344"/>
                    <a:pt x="1380" y="1335"/>
                    <a:pt x="1367" y="1327"/>
                  </a:cubicBezTo>
                  <a:cubicBezTo>
                    <a:pt x="1369" y="1328"/>
                    <a:pt x="1369" y="1327"/>
                    <a:pt x="1369" y="1326"/>
                  </a:cubicBezTo>
                  <a:cubicBezTo>
                    <a:pt x="1349" y="1313"/>
                    <a:pt x="1333" y="1304"/>
                    <a:pt x="1312" y="1290"/>
                  </a:cubicBezTo>
                  <a:cubicBezTo>
                    <a:pt x="1346" y="1305"/>
                    <a:pt x="1382" y="1330"/>
                    <a:pt x="1419" y="1354"/>
                  </a:cubicBezTo>
                  <a:cubicBezTo>
                    <a:pt x="1426" y="1354"/>
                    <a:pt x="1426" y="1354"/>
                    <a:pt x="1426" y="1354"/>
                  </a:cubicBezTo>
                  <a:cubicBezTo>
                    <a:pt x="1352" y="1302"/>
                    <a:pt x="1273" y="1251"/>
                    <a:pt x="1199" y="1200"/>
                  </a:cubicBezTo>
                  <a:cubicBezTo>
                    <a:pt x="1156" y="1174"/>
                    <a:pt x="1156" y="1174"/>
                    <a:pt x="1156" y="1174"/>
                  </a:cubicBezTo>
                  <a:lnTo>
                    <a:pt x="1175" y="1190"/>
                  </a:lnTo>
                  <a:close/>
                  <a:moveTo>
                    <a:pt x="1252" y="107"/>
                  </a:moveTo>
                  <a:cubicBezTo>
                    <a:pt x="1250" y="108"/>
                    <a:pt x="1250" y="108"/>
                    <a:pt x="1250" y="108"/>
                  </a:cubicBezTo>
                  <a:cubicBezTo>
                    <a:pt x="1259" y="96"/>
                    <a:pt x="1259" y="96"/>
                    <a:pt x="1259" y="96"/>
                  </a:cubicBezTo>
                  <a:cubicBezTo>
                    <a:pt x="1258" y="100"/>
                    <a:pt x="1255" y="103"/>
                    <a:pt x="1252" y="107"/>
                  </a:cubicBezTo>
                  <a:close/>
                  <a:moveTo>
                    <a:pt x="1260" y="89"/>
                  </a:moveTo>
                  <a:cubicBezTo>
                    <a:pt x="1261" y="89"/>
                    <a:pt x="1261" y="89"/>
                    <a:pt x="1261" y="89"/>
                  </a:cubicBezTo>
                  <a:cubicBezTo>
                    <a:pt x="1233" y="119"/>
                    <a:pt x="1204" y="150"/>
                    <a:pt x="1181" y="172"/>
                  </a:cubicBezTo>
                  <a:cubicBezTo>
                    <a:pt x="1207" y="143"/>
                    <a:pt x="1235" y="112"/>
                    <a:pt x="1260" y="89"/>
                  </a:cubicBezTo>
                  <a:close/>
                  <a:moveTo>
                    <a:pt x="1076" y="248"/>
                  </a:moveTo>
                  <a:cubicBezTo>
                    <a:pt x="1076" y="248"/>
                    <a:pt x="1076" y="248"/>
                    <a:pt x="1076" y="248"/>
                  </a:cubicBezTo>
                  <a:cubicBezTo>
                    <a:pt x="1076" y="248"/>
                    <a:pt x="1076" y="248"/>
                    <a:pt x="1076" y="248"/>
                  </a:cubicBezTo>
                  <a:close/>
                  <a:moveTo>
                    <a:pt x="108" y="212"/>
                  </a:moveTo>
                  <a:cubicBezTo>
                    <a:pt x="109" y="214"/>
                    <a:pt x="109" y="214"/>
                    <a:pt x="109" y="214"/>
                  </a:cubicBezTo>
                  <a:cubicBezTo>
                    <a:pt x="98" y="206"/>
                    <a:pt x="98" y="206"/>
                    <a:pt x="98" y="206"/>
                  </a:cubicBezTo>
                  <a:cubicBezTo>
                    <a:pt x="101" y="207"/>
                    <a:pt x="105" y="209"/>
                    <a:pt x="108" y="212"/>
                  </a:cubicBezTo>
                  <a:close/>
                  <a:moveTo>
                    <a:pt x="91" y="205"/>
                  </a:moveTo>
                  <a:cubicBezTo>
                    <a:pt x="91" y="205"/>
                    <a:pt x="91" y="205"/>
                    <a:pt x="91" y="205"/>
                  </a:cubicBezTo>
                  <a:cubicBezTo>
                    <a:pt x="121" y="229"/>
                    <a:pt x="152" y="255"/>
                    <a:pt x="172" y="278"/>
                  </a:cubicBezTo>
                  <a:cubicBezTo>
                    <a:pt x="145" y="252"/>
                    <a:pt x="114" y="227"/>
                    <a:pt x="91" y="205"/>
                  </a:cubicBezTo>
                  <a:close/>
                  <a:moveTo>
                    <a:pt x="744" y="802"/>
                  </a:moveTo>
                  <a:cubicBezTo>
                    <a:pt x="743" y="803"/>
                    <a:pt x="743" y="803"/>
                    <a:pt x="743" y="803"/>
                  </a:cubicBezTo>
                  <a:cubicBezTo>
                    <a:pt x="742" y="802"/>
                    <a:pt x="740" y="801"/>
                    <a:pt x="739" y="801"/>
                  </a:cubicBezTo>
                  <a:cubicBezTo>
                    <a:pt x="739" y="800"/>
                    <a:pt x="740" y="799"/>
                    <a:pt x="740" y="799"/>
                  </a:cubicBezTo>
                  <a:cubicBezTo>
                    <a:pt x="741" y="800"/>
                    <a:pt x="743" y="801"/>
                    <a:pt x="744" y="802"/>
                  </a:cubicBezTo>
                  <a:close/>
                  <a:moveTo>
                    <a:pt x="838" y="658"/>
                  </a:moveTo>
                  <a:cubicBezTo>
                    <a:pt x="809" y="694"/>
                    <a:pt x="778" y="738"/>
                    <a:pt x="752" y="779"/>
                  </a:cubicBezTo>
                  <a:cubicBezTo>
                    <a:pt x="711" y="788"/>
                    <a:pt x="889" y="599"/>
                    <a:pt x="899" y="548"/>
                  </a:cubicBezTo>
                  <a:cubicBezTo>
                    <a:pt x="921" y="542"/>
                    <a:pt x="861" y="629"/>
                    <a:pt x="838" y="658"/>
                  </a:cubicBezTo>
                  <a:close/>
                  <a:moveTo>
                    <a:pt x="752" y="691"/>
                  </a:moveTo>
                  <a:cubicBezTo>
                    <a:pt x="762" y="664"/>
                    <a:pt x="794" y="624"/>
                    <a:pt x="817" y="589"/>
                  </a:cubicBezTo>
                  <a:cubicBezTo>
                    <a:pt x="839" y="553"/>
                    <a:pt x="839" y="553"/>
                    <a:pt x="839" y="553"/>
                  </a:cubicBezTo>
                  <a:cubicBezTo>
                    <a:pt x="876" y="500"/>
                    <a:pt x="913" y="446"/>
                    <a:pt x="957" y="391"/>
                  </a:cubicBezTo>
                  <a:cubicBezTo>
                    <a:pt x="974" y="370"/>
                    <a:pt x="994" y="343"/>
                    <a:pt x="1010" y="320"/>
                  </a:cubicBezTo>
                  <a:cubicBezTo>
                    <a:pt x="1029" y="299"/>
                    <a:pt x="1029" y="299"/>
                    <a:pt x="1029" y="299"/>
                  </a:cubicBezTo>
                  <a:cubicBezTo>
                    <a:pt x="1030" y="299"/>
                    <a:pt x="1030" y="299"/>
                    <a:pt x="1030" y="299"/>
                  </a:cubicBezTo>
                  <a:cubicBezTo>
                    <a:pt x="1008" y="325"/>
                    <a:pt x="1008" y="325"/>
                    <a:pt x="1008" y="325"/>
                  </a:cubicBezTo>
                  <a:cubicBezTo>
                    <a:pt x="1003" y="332"/>
                    <a:pt x="1000" y="342"/>
                    <a:pt x="996" y="345"/>
                  </a:cubicBezTo>
                  <a:cubicBezTo>
                    <a:pt x="986" y="361"/>
                    <a:pt x="971" y="379"/>
                    <a:pt x="957" y="397"/>
                  </a:cubicBezTo>
                  <a:cubicBezTo>
                    <a:pt x="947" y="413"/>
                    <a:pt x="929" y="429"/>
                    <a:pt x="916" y="448"/>
                  </a:cubicBezTo>
                  <a:cubicBezTo>
                    <a:pt x="913" y="451"/>
                    <a:pt x="912" y="456"/>
                    <a:pt x="912" y="457"/>
                  </a:cubicBezTo>
                  <a:cubicBezTo>
                    <a:pt x="890" y="481"/>
                    <a:pt x="884" y="500"/>
                    <a:pt x="862" y="524"/>
                  </a:cubicBezTo>
                  <a:cubicBezTo>
                    <a:pt x="873" y="515"/>
                    <a:pt x="873" y="515"/>
                    <a:pt x="873" y="515"/>
                  </a:cubicBezTo>
                  <a:cubicBezTo>
                    <a:pt x="862" y="530"/>
                    <a:pt x="855" y="542"/>
                    <a:pt x="842" y="561"/>
                  </a:cubicBezTo>
                  <a:cubicBezTo>
                    <a:pt x="830" y="576"/>
                    <a:pt x="825" y="589"/>
                    <a:pt x="817" y="600"/>
                  </a:cubicBezTo>
                  <a:cubicBezTo>
                    <a:pt x="790" y="638"/>
                    <a:pt x="761" y="675"/>
                    <a:pt x="744" y="707"/>
                  </a:cubicBezTo>
                  <a:cubicBezTo>
                    <a:pt x="744" y="702"/>
                    <a:pt x="750" y="695"/>
                    <a:pt x="752" y="691"/>
                  </a:cubicBezTo>
                  <a:close/>
                  <a:moveTo>
                    <a:pt x="677" y="751"/>
                  </a:moveTo>
                  <a:cubicBezTo>
                    <a:pt x="676" y="750"/>
                    <a:pt x="674" y="749"/>
                    <a:pt x="673" y="748"/>
                  </a:cubicBezTo>
                  <a:cubicBezTo>
                    <a:pt x="675" y="745"/>
                    <a:pt x="675" y="745"/>
                    <a:pt x="675" y="745"/>
                  </a:cubicBezTo>
                  <a:cubicBezTo>
                    <a:pt x="676" y="746"/>
                    <a:pt x="677" y="747"/>
                    <a:pt x="678" y="748"/>
                  </a:cubicBezTo>
                  <a:cubicBezTo>
                    <a:pt x="678" y="749"/>
                    <a:pt x="677" y="750"/>
                    <a:pt x="677" y="751"/>
                  </a:cubicBezTo>
                  <a:close/>
                  <a:moveTo>
                    <a:pt x="686" y="731"/>
                  </a:moveTo>
                  <a:cubicBezTo>
                    <a:pt x="684" y="736"/>
                    <a:pt x="682" y="742"/>
                    <a:pt x="679" y="747"/>
                  </a:cubicBezTo>
                  <a:cubicBezTo>
                    <a:pt x="678" y="746"/>
                    <a:pt x="677" y="745"/>
                    <a:pt x="676" y="744"/>
                  </a:cubicBezTo>
                  <a:lnTo>
                    <a:pt x="686" y="731"/>
                  </a:lnTo>
                  <a:close/>
                  <a:moveTo>
                    <a:pt x="674" y="745"/>
                  </a:moveTo>
                  <a:cubicBezTo>
                    <a:pt x="674" y="746"/>
                    <a:pt x="673" y="746"/>
                    <a:pt x="673" y="747"/>
                  </a:cubicBezTo>
                  <a:cubicBezTo>
                    <a:pt x="672" y="746"/>
                    <a:pt x="671" y="745"/>
                    <a:pt x="670" y="744"/>
                  </a:cubicBezTo>
                  <a:cubicBezTo>
                    <a:pt x="671" y="742"/>
                    <a:pt x="671" y="742"/>
                    <a:pt x="671" y="742"/>
                  </a:cubicBezTo>
                  <a:cubicBezTo>
                    <a:pt x="672" y="743"/>
                    <a:pt x="673" y="744"/>
                    <a:pt x="674" y="745"/>
                  </a:cubicBezTo>
                  <a:close/>
                  <a:moveTo>
                    <a:pt x="671" y="750"/>
                  </a:moveTo>
                  <a:cubicBezTo>
                    <a:pt x="669" y="753"/>
                    <a:pt x="668" y="755"/>
                    <a:pt x="666" y="758"/>
                  </a:cubicBezTo>
                  <a:cubicBezTo>
                    <a:pt x="664" y="757"/>
                    <a:pt x="663" y="756"/>
                    <a:pt x="662" y="755"/>
                  </a:cubicBezTo>
                  <a:cubicBezTo>
                    <a:pt x="668" y="747"/>
                    <a:pt x="668" y="747"/>
                    <a:pt x="668" y="747"/>
                  </a:cubicBezTo>
                  <a:cubicBezTo>
                    <a:pt x="669" y="748"/>
                    <a:pt x="670" y="749"/>
                    <a:pt x="671" y="750"/>
                  </a:cubicBezTo>
                  <a:close/>
                  <a:moveTo>
                    <a:pt x="634" y="708"/>
                  </a:moveTo>
                  <a:cubicBezTo>
                    <a:pt x="646" y="719"/>
                    <a:pt x="657" y="730"/>
                    <a:pt x="669" y="740"/>
                  </a:cubicBezTo>
                  <a:cubicBezTo>
                    <a:pt x="668" y="741"/>
                    <a:pt x="668" y="741"/>
                    <a:pt x="668" y="742"/>
                  </a:cubicBezTo>
                  <a:cubicBezTo>
                    <a:pt x="656" y="731"/>
                    <a:pt x="645" y="719"/>
                    <a:pt x="634" y="708"/>
                  </a:cubicBezTo>
                  <a:cubicBezTo>
                    <a:pt x="624" y="698"/>
                    <a:pt x="615" y="687"/>
                    <a:pt x="605" y="677"/>
                  </a:cubicBezTo>
                  <a:lnTo>
                    <a:pt x="634" y="708"/>
                  </a:lnTo>
                  <a:close/>
                  <a:moveTo>
                    <a:pt x="595" y="674"/>
                  </a:moveTo>
                  <a:cubicBezTo>
                    <a:pt x="615" y="698"/>
                    <a:pt x="640" y="722"/>
                    <a:pt x="666" y="745"/>
                  </a:cubicBezTo>
                  <a:cubicBezTo>
                    <a:pt x="664" y="747"/>
                    <a:pt x="662" y="750"/>
                    <a:pt x="660" y="753"/>
                  </a:cubicBezTo>
                  <a:cubicBezTo>
                    <a:pt x="611" y="706"/>
                    <a:pt x="530" y="610"/>
                    <a:pt x="499" y="597"/>
                  </a:cubicBezTo>
                  <a:cubicBezTo>
                    <a:pt x="498" y="574"/>
                    <a:pt x="570" y="648"/>
                    <a:pt x="595" y="674"/>
                  </a:cubicBezTo>
                  <a:close/>
                  <a:moveTo>
                    <a:pt x="237" y="383"/>
                  </a:moveTo>
                  <a:cubicBezTo>
                    <a:pt x="237" y="383"/>
                    <a:pt x="237" y="383"/>
                    <a:pt x="237" y="383"/>
                  </a:cubicBezTo>
                  <a:cubicBezTo>
                    <a:pt x="237" y="383"/>
                    <a:pt x="237" y="383"/>
                    <a:pt x="237" y="383"/>
                  </a:cubicBezTo>
                  <a:close/>
                  <a:moveTo>
                    <a:pt x="523" y="684"/>
                  </a:moveTo>
                  <a:cubicBezTo>
                    <a:pt x="493" y="656"/>
                    <a:pt x="493" y="656"/>
                    <a:pt x="493" y="656"/>
                  </a:cubicBezTo>
                  <a:cubicBezTo>
                    <a:pt x="447" y="611"/>
                    <a:pt x="403" y="565"/>
                    <a:pt x="358" y="515"/>
                  </a:cubicBezTo>
                  <a:cubicBezTo>
                    <a:pt x="339" y="495"/>
                    <a:pt x="317" y="472"/>
                    <a:pt x="298" y="454"/>
                  </a:cubicBezTo>
                  <a:cubicBezTo>
                    <a:pt x="280" y="434"/>
                    <a:pt x="280" y="434"/>
                    <a:pt x="280" y="434"/>
                  </a:cubicBezTo>
                  <a:cubicBezTo>
                    <a:pt x="280" y="432"/>
                    <a:pt x="280" y="432"/>
                    <a:pt x="280" y="432"/>
                  </a:cubicBezTo>
                  <a:cubicBezTo>
                    <a:pt x="302" y="456"/>
                    <a:pt x="302" y="456"/>
                    <a:pt x="302" y="456"/>
                  </a:cubicBezTo>
                  <a:cubicBezTo>
                    <a:pt x="309" y="462"/>
                    <a:pt x="317" y="467"/>
                    <a:pt x="320" y="470"/>
                  </a:cubicBezTo>
                  <a:cubicBezTo>
                    <a:pt x="333" y="482"/>
                    <a:pt x="348" y="500"/>
                    <a:pt x="363" y="516"/>
                  </a:cubicBezTo>
                  <a:cubicBezTo>
                    <a:pt x="377" y="528"/>
                    <a:pt x="389" y="547"/>
                    <a:pt x="405" y="564"/>
                  </a:cubicBezTo>
                  <a:cubicBezTo>
                    <a:pt x="408" y="567"/>
                    <a:pt x="412" y="569"/>
                    <a:pt x="413" y="569"/>
                  </a:cubicBezTo>
                  <a:cubicBezTo>
                    <a:pt x="432" y="594"/>
                    <a:pt x="449" y="604"/>
                    <a:pt x="469" y="629"/>
                  </a:cubicBezTo>
                  <a:cubicBezTo>
                    <a:pt x="462" y="617"/>
                    <a:pt x="462" y="617"/>
                    <a:pt x="462" y="617"/>
                  </a:cubicBezTo>
                  <a:cubicBezTo>
                    <a:pt x="474" y="630"/>
                    <a:pt x="485" y="639"/>
                    <a:pt x="501" y="655"/>
                  </a:cubicBezTo>
                  <a:cubicBezTo>
                    <a:pt x="513" y="669"/>
                    <a:pt x="525" y="676"/>
                    <a:pt x="534" y="686"/>
                  </a:cubicBezTo>
                  <a:cubicBezTo>
                    <a:pt x="567" y="718"/>
                    <a:pt x="598" y="752"/>
                    <a:pt x="628" y="773"/>
                  </a:cubicBezTo>
                  <a:cubicBezTo>
                    <a:pt x="623" y="772"/>
                    <a:pt x="616" y="765"/>
                    <a:pt x="612" y="763"/>
                  </a:cubicBezTo>
                  <a:cubicBezTo>
                    <a:pt x="587" y="749"/>
                    <a:pt x="554" y="711"/>
                    <a:pt x="523" y="684"/>
                  </a:cubicBezTo>
                  <a:close/>
                  <a:moveTo>
                    <a:pt x="666" y="759"/>
                  </a:moveTo>
                  <a:cubicBezTo>
                    <a:pt x="668" y="756"/>
                    <a:pt x="670" y="753"/>
                    <a:pt x="671" y="750"/>
                  </a:cubicBezTo>
                  <a:cubicBezTo>
                    <a:pt x="673" y="751"/>
                    <a:pt x="674" y="752"/>
                    <a:pt x="676" y="753"/>
                  </a:cubicBezTo>
                  <a:cubicBezTo>
                    <a:pt x="674" y="756"/>
                    <a:pt x="673" y="760"/>
                    <a:pt x="671" y="763"/>
                  </a:cubicBezTo>
                  <a:cubicBezTo>
                    <a:pt x="669" y="761"/>
                    <a:pt x="668" y="760"/>
                    <a:pt x="666" y="759"/>
                  </a:cubicBezTo>
                  <a:close/>
                  <a:moveTo>
                    <a:pt x="592" y="969"/>
                  </a:moveTo>
                  <a:cubicBezTo>
                    <a:pt x="567" y="1015"/>
                    <a:pt x="533" y="1064"/>
                    <a:pt x="500" y="1111"/>
                  </a:cubicBezTo>
                  <a:cubicBezTo>
                    <a:pt x="492" y="1125"/>
                    <a:pt x="492" y="1125"/>
                    <a:pt x="492" y="1125"/>
                  </a:cubicBezTo>
                  <a:cubicBezTo>
                    <a:pt x="486" y="1134"/>
                    <a:pt x="480" y="1141"/>
                    <a:pt x="474" y="1148"/>
                  </a:cubicBezTo>
                  <a:cubicBezTo>
                    <a:pt x="472" y="1151"/>
                    <a:pt x="472" y="1151"/>
                    <a:pt x="472" y="1151"/>
                  </a:cubicBezTo>
                  <a:cubicBezTo>
                    <a:pt x="473" y="1149"/>
                    <a:pt x="473" y="1149"/>
                    <a:pt x="473" y="1149"/>
                  </a:cubicBezTo>
                  <a:cubicBezTo>
                    <a:pt x="464" y="1160"/>
                    <a:pt x="455" y="1169"/>
                    <a:pt x="444" y="1181"/>
                  </a:cubicBezTo>
                  <a:cubicBezTo>
                    <a:pt x="442" y="1186"/>
                    <a:pt x="442" y="1186"/>
                    <a:pt x="442" y="1186"/>
                  </a:cubicBezTo>
                  <a:cubicBezTo>
                    <a:pt x="440" y="1184"/>
                    <a:pt x="440" y="1184"/>
                    <a:pt x="440" y="1184"/>
                  </a:cubicBezTo>
                  <a:cubicBezTo>
                    <a:pt x="458" y="1146"/>
                    <a:pt x="493" y="1109"/>
                    <a:pt x="519" y="1070"/>
                  </a:cubicBezTo>
                  <a:cubicBezTo>
                    <a:pt x="551" y="1019"/>
                    <a:pt x="589" y="966"/>
                    <a:pt x="618" y="914"/>
                  </a:cubicBezTo>
                  <a:cubicBezTo>
                    <a:pt x="623" y="905"/>
                    <a:pt x="632" y="895"/>
                    <a:pt x="638" y="888"/>
                  </a:cubicBezTo>
                  <a:cubicBezTo>
                    <a:pt x="621" y="916"/>
                    <a:pt x="609" y="941"/>
                    <a:pt x="592" y="969"/>
                  </a:cubicBezTo>
                  <a:close/>
                  <a:moveTo>
                    <a:pt x="691" y="880"/>
                  </a:moveTo>
                  <a:cubicBezTo>
                    <a:pt x="690" y="879"/>
                    <a:pt x="688" y="878"/>
                    <a:pt x="687" y="877"/>
                  </a:cubicBezTo>
                  <a:cubicBezTo>
                    <a:pt x="688" y="875"/>
                    <a:pt x="689" y="874"/>
                    <a:pt x="690" y="873"/>
                  </a:cubicBezTo>
                  <a:cubicBezTo>
                    <a:pt x="691" y="874"/>
                    <a:pt x="693" y="875"/>
                    <a:pt x="694" y="876"/>
                  </a:cubicBezTo>
                  <a:cubicBezTo>
                    <a:pt x="693" y="877"/>
                    <a:pt x="692" y="878"/>
                    <a:pt x="691" y="880"/>
                  </a:cubicBezTo>
                  <a:close/>
                  <a:moveTo>
                    <a:pt x="695" y="873"/>
                  </a:moveTo>
                  <a:cubicBezTo>
                    <a:pt x="694" y="873"/>
                    <a:pt x="693" y="872"/>
                    <a:pt x="691" y="871"/>
                  </a:cubicBezTo>
                  <a:cubicBezTo>
                    <a:pt x="693" y="869"/>
                    <a:pt x="694" y="867"/>
                    <a:pt x="695" y="866"/>
                  </a:cubicBezTo>
                  <a:cubicBezTo>
                    <a:pt x="696" y="867"/>
                    <a:pt x="698" y="867"/>
                    <a:pt x="699" y="868"/>
                  </a:cubicBezTo>
                  <a:cubicBezTo>
                    <a:pt x="698" y="870"/>
                    <a:pt x="697" y="872"/>
                    <a:pt x="695" y="873"/>
                  </a:cubicBezTo>
                  <a:close/>
                  <a:moveTo>
                    <a:pt x="876" y="934"/>
                  </a:moveTo>
                  <a:cubicBezTo>
                    <a:pt x="921" y="960"/>
                    <a:pt x="968" y="995"/>
                    <a:pt x="1014" y="1028"/>
                  </a:cubicBezTo>
                  <a:cubicBezTo>
                    <a:pt x="1027" y="1036"/>
                    <a:pt x="1027" y="1036"/>
                    <a:pt x="1027" y="1036"/>
                  </a:cubicBezTo>
                  <a:cubicBezTo>
                    <a:pt x="1035" y="1041"/>
                    <a:pt x="1043" y="1047"/>
                    <a:pt x="1049" y="1053"/>
                  </a:cubicBezTo>
                  <a:cubicBezTo>
                    <a:pt x="1052" y="1056"/>
                    <a:pt x="1052" y="1056"/>
                    <a:pt x="1052" y="1056"/>
                  </a:cubicBezTo>
                  <a:cubicBezTo>
                    <a:pt x="1050" y="1054"/>
                    <a:pt x="1050" y="1054"/>
                    <a:pt x="1050" y="1054"/>
                  </a:cubicBezTo>
                  <a:cubicBezTo>
                    <a:pt x="1060" y="1063"/>
                    <a:pt x="1069" y="1073"/>
                    <a:pt x="1081" y="1083"/>
                  </a:cubicBezTo>
                  <a:cubicBezTo>
                    <a:pt x="1085" y="1085"/>
                    <a:pt x="1085" y="1085"/>
                    <a:pt x="1085" y="1085"/>
                  </a:cubicBezTo>
                  <a:cubicBezTo>
                    <a:pt x="1083" y="1088"/>
                    <a:pt x="1083" y="1088"/>
                    <a:pt x="1083" y="1088"/>
                  </a:cubicBezTo>
                  <a:cubicBezTo>
                    <a:pt x="1046" y="1069"/>
                    <a:pt x="1011" y="1034"/>
                    <a:pt x="973" y="1009"/>
                  </a:cubicBezTo>
                  <a:cubicBezTo>
                    <a:pt x="924" y="976"/>
                    <a:pt x="874" y="938"/>
                    <a:pt x="822" y="908"/>
                  </a:cubicBezTo>
                  <a:cubicBezTo>
                    <a:pt x="814" y="904"/>
                    <a:pt x="804" y="895"/>
                    <a:pt x="797" y="890"/>
                  </a:cubicBezTo>
                  <a:cubicBezTo>
                    <a:pt x="824" y="905"/>
                    <a:pt x="850" y="918"/>
                    <a:pt x="876" y="9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7" name="Freeform 40"/>
            <p:cNvSpPr>
              <a:spLocks/>
            </p:cNvSpPr>
            <p:nvPr/>
          </p:nvSpPr>
          <p:spPr bwMode="auto">
            <a:xfrm>
              <a:off x="6348412" y="1404939"/>
              <a:ext cx="382588" cy="263525"/>
            </a:xfrm>
            <a:custGeom>
              <a:avLst/>
              <a:gdLst>
                <a:gd name="T0" fmla="*/ 233 w 441"/>
                <a:gd name="T1" fmla="*/ 148 h 303"/>
                <a:gd name="T2" fmla="*/ 116 w 441"/>
                <a:gd name="T3" fmla="*/ 72 h 303"/>
                <a:gd name="T4" fmla="*/ 0 w 441"/>
                <a:gd name="T5" fmla="*/ 0 h 303"/>
                <a:gd name="T6" fmla="*/ 151 w 441"/>
                <a:gd name="T7" fmla="*/ 118 h 303"/>
                <a:gd name="T8" fmla="*/ 201 w 441"/>
                <a:gd name="T9" fmla="*/ 150 h 303"/>
                <a:gd name="T10" fmla="*/ 240 w 441"/>
                <a:gd name="T11" fmla="*/ 174 h 303"/>
                <a:gd name="T12" fmla="*/ 435 w 441"/>
                <a:gd name="T13" fmla="*/ 303 h 303"/>
                <a:gd name="T14" fmla="*/ 441 w 441"/>
                <a:gd name="T15" fmla="*/ 294 h 303"/>
                <a:gd name="T16" fmla="*/ 235 w 441"/>
                <a:gd name="T17" fmla="*/ 149 h 303"/>
                <a:gd name="T18" fmla="*/ 233 w 441"/>
                <a:gd name="T19" fmla="*/ 148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1" h="303">
                  <a:moveTo>
                    <a:pt x="233" y="148"/>
                  </a:moveTo>
                  <a:cubicBezTo>
                    <a:pt x="200" y="132"/>
                    <a:pt x="155" y="96"/>
                    <a:pt x="116" y="72"/>
                  </a:cubicBezTo>
                  <a:cubicBezTo>
                    <a:pt x="76" y="50"/>
                    <a:pt x="39" y="24"/>
                    <a:pt x="0" y="0"/>
                  </a:cubicBezTo>
                  <a:cubicBezTo>
                    <a:pt x="51" y="41"/>
                    <a:pt x="101" y="77"/>
                    <a:pt x="151" y="118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40" y="174"/>
                    <a:pt x="240" y="174"/>
                    <a:pt x="240" y="174"/>
                  </a:cubicBezTo>
                  <a:cubicBezTo>
                    <a:pt x="300" y="213"/>
                    <a:pt x="370" y="261"/>
                    <a:pt x="435" y="303"/>
                  </a:cubicBezTo>
                  <a:cubicBezTo>
                    <a:pt x="439" y="301"/>
                    <a:pt x="441" y="298"/>
                    <a:pt x="441" y="294"/>
                  </a:cubicBezTo>
                  <a:cubicBezTo>
                    <a:pt x="374" y="243"/>
                    <a:pt x="300" y="202"/>
                    <a:pt x="235" y="149"/>
                  </a:cubicBezTo>
                  <a:lnTo>
                    <a:pt x="233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8" name="Freeform 41"/>
            <p:cNvSpPr>
              <a:spLocks/>
            </p:cNvSpPr>
            <p:nvPr/>
          </p:nvSpPr>
          <p:spPr bwMode="auto">
            <a:xfrm>
              <a:off x="6086475" y="1262064"/>
              <a:ext cx="141288" cy="96838"/>
            </a:xfrm>
            <a:custGeom>
              <a:avLst/>
              <a:gdLst>
                <a:gd name="T0" fmla="*/ 0 w 162"/>
                <a:gd name="T1" fmla="*/ 0 h 110"/>
                <a:gd name="T2" fmla="*/ 45 w 162"/>
                <a:gd name="T3" fmla="*/ 33 h 110"/>
                <a:gd name="T4" fmla="*/ 162 w 162"/>
                <a:gd name="T5" fmla="*/ 110 h 110"/>
                <a:gd name="T6" fmla="*/ 83 w 162"/>
                <a:gd name="T7" fmla="*/ 50 h 110"/>
                <a:gd name="T8" fmla="*/ 0 w 162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10">
                  <a:moveTo>
                    <a:pt x="0" y="0"/>
                  </a:moveTo>
                  <a:cubicBezTo>
                    <a:pt x="15" y="11"/>
                    <a:pt x="29" y="23"/>
                    <a:pt x="45" y="33"/>
                  </a:cubicBezTo>
                  <a:cubicBezTo>
                    <a:pt x="89" y="63"/>
                    <a:pt x="122" y="85"/>
                    <a:pt x="162" y="110"/>
                  </a:cubicBezTo>
                  <a:cubicBezTo>
                    <a:pt x="135" y="91"/>
                    <a:pt x="108" y="69"/>
                    <a:pt x="83" y="50"/>
                  </a:cubicBezTo>
                  <a:cubicBezTo>
                    <a:pt x="54" y="31"/>
                    <a:pt x="27" y="1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9" name="Freeform 42"/>
            <p:cNvSpPr>
              <a:spLocks/>
            </p:cNvSpPr>
            <p:nvPr/>
          </p:nvSpPr>
          <p:spPr bwMode="auto">
            <a:xfrm>
              <a:off x="6219825" y="1344614"/>
              <a:ext cx="303213" cy="220663"/>
            </a:xfrm>
            <a:custGeom>
              <a:avLst/>
              <a:gdLst>
                <a:gd name="T0" fmla="*/ 40 w 349"/>
                <a:gd name="T1" fmla="*/ 36 h 254"/>
                <a:gd name="T2" fmla="*/ 9 w 349"/>
                <a:gd name="T3" fmla="*/ 16 h 254"/>
                <a:gd name="T4" fmla="*/ 126 w 349"/>
                <a:gd name="T5" fmla="*/ 104 h 254"/>
                <a:gd name="T6" fmla="*/ 326 w 349"/>
                <a:gd name="T7" fmla="*/ 239 h 254"/>
                <a:gd name="T8" fmla="*/ 349 w 349"/>
                <a:gd name="T9" fmla="*/ 254 h 254"/>
                <a:gd name="T10" fmla="*/ 6 w 349"/>
                <a:gd name="T11" fmla="*/ 3 h 254"/>
                <a:gd name="T12" fmla="*/ 0 w 349"/>
                <a:gd name="T13" fmla="*/ 0 h 254"/>
                <a:gd name="T14" fmla="*/ 143 w 349"/>
                <a:gd name="T15" fmla="*/ 107 h 254"/>
                <a:gd name="T16" fmla="*/ 40 w 349"/>
                <a:gd name="T17" fmla="*/ 3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9" h="254">
                  <a:moveTo>
                    <a:pt x="40" y="36"/>
                  </a:moveTo>
                  <a:cubicBezTo>
                    <a:pt x="9" y="16"/>
                    <a:pt x="9" y="16"/>
                    <a:pt x="9" y="16"/>
                  </a:cubicBezTo>
                  <a:cubicBezTo>
                    <a:pt x="126" y="104"/>
                    <a:pt x="126" y="104"/>
                    <a:pt x="126" y="104"/>
                  </a:cubicBezTo>
                  <a:cubicBezTo>
                    <a:pt x="193" y="149"/>
                    <a:pt x="258" y="196"/>
                    <a:pt x="326" y="239"/>
                  </a:cubicBezTo>
                  <a:cubicBezTo>
                    <a:pt x="349" y="254"/>
                    <a:pt x="349" y="254"/>
                    <a:pt x="349" y="254"/>
                  </a:cubicBezTo>
                  <a:cubicBezTo>
                    <a:pt x="229" y="164"/>
                    <a:pt x="115" y="69"/>
                    <a:pt x="6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36"/>
                    <a:pt x="95" y="71"/>
                    <a:pt x="143" y="107"/>
                  </a:cubicBezTo>
                  <a:lnTo>
                    <a:pt x="4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0" name="Freeform 43"/>
            <p:cNvSpPr>
              <a:spLocks/>
            </p:cNvSpPr>
            <p:nvPr/>
          </p:nvSpPr>
          <p:spPr bwMode="auto">
            <a:xfrm>
              <a:off x="6464300" y="1498601"/>
              <a:ext cx="20638" cy="14288"/>
            </a:xfrm>
            <a:custGeom>
              <a:avLst/>
              <a:gdLst>
                <a:gd name="T0" fmla="*/ 6 w 13"/>
                <a:gd name="T1" fmla="*/ 5 h 9"/>
                <a:gd name="T2" fmla="*/ 13 w 13"/>
                <a:gd name="T3" fmla="*/ 9 h 9"/>
                <a:gd name="T4" fmla="*/ 9 w 13"/>
                <a:gd name="T5" fmla="*/ 6 h 9"/>
                <a:gd name="T6" fmla="*/ 0 w 13"/>
                <a:gd name="T7" fmla="*/ 0 h 9"/>
                <a:gd name="T8" fmla="*/ 6 w 13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9">
                  <a:moveTo>
                    <a:pt x="6" y="5"/>
                  </a:moveTo>
                  <a:lnTo>
                    <a:pt x="13" y="9"/>
                  </a:lnTo>
                  <a:lnTo>
                    <a:pt x="9" y="6"/>
                  </a:lnTo>
                  <a:lnTo>
                    <a:pt x="0" y="0"/>
                  </a:lnTo>
                  <a:lnTo>
                    <a:pt x="6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1" name="Freeform 44"/>
            <p:cNvSpPr>
              <a:spLocks/>
            </p:cNvSpPr>
            <p:nvPr/>
          </p:nvSpPr>
          <p:spPr bwMode="auto">
            <a:xfrm>
              <a:off x="6315075" y="1355726"/>
              <a:ext cx="77788" cy="52388"/>
            </a:xfrm>
            <a:custGeom>
              <a:avLst/>
              <a:gdLst>
                <a:gd name="T0" fmla="*/ 89 w 89"/>
                <a:gd name="T1" fmla="*/ 61 h 61"/>
                <a:gd name="T2" fmla="*/ 88 w 89"/>
                <a:gd name="T3" fmla="*/ 60 h 61"/>
                <a:gd name="T4" fmla="*/ 53 w 89"/>
                <a:gd name="T5" fmla="*/ 35 h 61"/>
                <a:gd name="T6" fmla="*/ 0 w 89"/>
                <a:gd name="T7" fmla="*/ 0 h 61"/>
                <a:gd name="T8" fmla="*/ 89 w 89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61">
                  <a:moveTo>
                    <a:pt x="89" y="61"/>
                  </a:moveTo>
                  <a:cubicBezTo>
                    <a:pt x="88" y="60"/>
                    <a:pt x="88" y="60"/>
                    <a:pt x="88" y="60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36" y="24"/>
                    <a:pt x="18" y="12"/>
                    <a:pt x="0" y="0"/>
                  </a:cubicBezTo>
                  <a:cubicBezTo>
                    <a:pt x="32" y="23"/>
                    <a:pt x="63" y="46"/>
                    <a:pt x="89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2" name="Freeform 45"/>
            <p:cNvSpPr>
              <a:spLocks/>
            </p:cNvSpPr>
            <p:nvPr/>
          </p:nvSpPr>
          <p:spPr bwMode="auto">
            <a:xfrm>
              <a:off x="6303962" y="1309689"/>
              <a:ext cx="19050" cy="12700"/>
            </a:xfrm>
            <a:custGeom>
              <a:avLst/>
              <a:gdLst>
                <a:gd name="T0" fmla="*/ 22 w 22"/>
                <a:gd name="T1" fmla="*/ 15 h 15"/>
                <a:gd name="T2" fmla="*/ 8 w 22"/>
                <a:gd name="T3" fmla="*/ 4 h 15"/>
                <a:gd name="T4" fmla="*/ 0 w 22"/>
                <a:gd name="T5" fmla="*/ 0 h 15"/>
                <a:gd name="T6" fmla="*/ 10 w 22"/>
                <a:gd name="T7" fmla="*/ 9 h 15"/>
                <a:gd name="T8" fmla="*/ 22 w 22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5">
                  <a:moveTo>
                    <a:pt x="22" y="15"/>
                  </a:moveTo>
                  <a:cubicBezTo>
                    <a:pt x="19" y="12"/>
                    <a:pt x="12" y="7"/>
                    <a:pt x="8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9"/>
                    <a:pt x="10" y="9"/>
                    <a:pt x="10" y="9"/>
                  </a:cubicBezTo>
                  <a:lnTo>
                    <a:pt x="2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3" name="Freeform 46"/>
            <p:cNvSpPr>
              <a:spLocks/>
            </p:cNvSpPr>
            <p:nvPr/>
          </p:nvSpPr>
          <p:spPr bwMode="auto">
            <a:xfrm>
              <a:off x="6657975" y="490539"/>
              <a:ext cx="6350" cy="6350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7 h 7"/>
                <a:gd name="T4" fmla="*/ 7 w 7"/>
                <a:gd name="T5" fmla="*/ 1 h 7"/>
                <a:gd name="T6" fmla="*/ 6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4" y="4"/>
                    <a:pt x="7" y="1"/>
                    <a:pt x="7" y="1"/>
                  </a:cubicBez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4" name="Freeform 47"/>
            <p:cNvSpPr>
              <a:spLocks/>
            </p:cNvSpPr>
            <p:nvPr/>
          </p:nvSpPr>
          <p:spPr bwMode="auto">
            <a:xfrm>
              <a:off x="6661150" y="509589"/>
              <a:ext cx="1588" cy="158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0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5" name="Freeform 48"/>
            <p:cNvSpPr>
              <a:spLocks/>
            </p:cNvSpPr>
            <p:nvPr/>
          </p:nvSpPr>
          <p:spPr bwMode="auto">
            <a:xfrm>
              <a:off x="6623050" y="457201"/>
              <a:ext cx="46038" cy="60325"/>
            </a:xfrm>
            <a:custGeom>
              <a:avLst/>
              <a:gdLst>
                <a:gd name="T0" fmla="*/ 46 w 53"/>
                <a:gd name="T1" fmla="*/ 39 h 69"/>
                <a:gd name="T2" fmla="*/ 37 w 53"/>
                <a:gd name="T3" fmla="*/ 30 h 69"/>
                <a:gd name="T4" fmla="*/ 51 w 53"/>
                <a:gd name="T5" fmla="*/ 17 h 69"/>
                <a:gd name="T6" fmla="*/ 46 w 53"/>
                <a:gd name="T7" fmla="*/ 12 h 69"/>
                <a:gd name="T8" fmla="*/ 53 w 53"/>
                <a:gd name="T9" fmla="*/ 5 h 69"/>
                <a:gd name="T10" fmla="*/ 41 w 53"/>
                <a:gd name="T11" fmla="*/ 8 h 69"/>
                <a:gd name="T12" fmla="*/ 46 w 53"/>
                <a:gd name="T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69">
                  <a:moveTo>
                    <a:pt x="46" y="39"/>
                  </a:moveTo>
                  <a:cubicBezTo>
                    <a:pt x="42" y="37"/>
                    <a:pt x="37" y="36"/>
                    <a:pt x="37" y="30"/>
                  </a:cubicBezTo>
                  <a:cubicBezTo>
                    <a:pt x="41" y="26"/>
                    <a:pt x="48" y="20"/>
                    <a:pt x="51" y="17"/>
                  </a:cubicBezTo>
                  <a:cubicBezTo>
                    <a:pt x="53" y="12"/>
                    <a:pt x="48" y="14"/>
                    <a:pt x="46" y="12"/>
                  </a:cubicBezTo>
                  <a:cubicBezTo>
                    <a:pt x="50" y="9"/>
                    <a:pt x="53" y="5"/>
                    <a:pt x="53" y="5"/>
                  </a:cubicBezTo>
                  <a:cubicBezTo>
                    <a:pt x="53" y="0"/>
                    <a:pt x="48" y="2"/>
                    <a:pt x="41" y="8"/>
                  </a:cubicBezTo>
                  <a:cubicBezTo>
                    <a:pt x="34" y="31"/>
                    <a:pt x="0" y="69"/>
                    <a:pt x="46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6" name="Freeform 49"/>
            <p:cNvSpPr>
              <a:spLocks/>
            </p:cNvSpPr>
            <p:nvPr/>
          </p:nvSpPr>
          <p:spPr bwMode="auto">
            <a:xfrm>
              <a:off x="6645275" y="496889"/>
              <a:ext cx="15875" cy="22225"/>
            </a:xfrm>
            <a:custGeom>
              <a:avLst/>
              <a:gdLst>
                <a:gd name="T0" fmla="*/ 0 w 19"/>
                <a:gd name="T1" fmla="*/ 25 h 25"/>
                <a:gd name="T2" fmla="*/ 18 w 19"/>
                <a:gd name="T3" fmla="*/ 9 h 25"/>
                <a:gd name="T4" fmla="*/ 15 w 19"/>
                <a:gd name="T5" fmla="*/ 0 h 25"/>
                <a:gd name="T6" fmla="*/ 0 w 19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5">
                  <a:moveTo>
                    <a:pt x="0" y="25"/>
                  </a:moveTo>
                  <a:cubicBezTo>
                    <a:pt x="18" y="9"/>
                    <a:pt x="18" y="9"/>
                    <a:pt x="18" y="9"/>
                  </a:cubicBezTo>
                  <a:cubicBezTo>
                    <a:pt x="18" y="5"/>
                    <a:pt x="19" y="1"/>
                    <a:pt x="15" y="0"/>
                  </a:cubicBezTo>
                  <a:cubicBezTo>
                    <a:pt x="7" y="10"/>
                    <a:pt x="3" y="17"/>
                    <a:pt x="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7" name="Freeform 50"/>
            <p:cNvSpPr>
              <a:spLocks/>
            </p:cNvSpPr>
            <p:nvPr/>
          </p:nvSpPr>
          <p:spPr bwMode="auto">
            <a:xfrm>
              <a:off x="5575300" y="1733551"/>
              <a:ext cx="66675" cy="87313"/>
            </a:xfrm>
            <a:custGeom>
              <a:avLst/>
              <a:gdLst>
                <a:gd name="T0" fmla="*/ 2 w 77"/>
                <a:gd name="T1" fmla="*/ 94 h 101"/>
                <a:gd name="T2" fmla="*/ 0 w 77"/>
                <a:gd name="T3" fmla="*/ 101 h 101"/>
                <a:gd name="T4" fmla="*/ 77 w 77"/>
                <a:gd name="T5" fmla="*/ 0 h 101"/>
                <a:gd name="T6" fmla="*/ 34 w 77"/>
                <a:gd name="T7" fmla="*/ 54 h 101"/>
                <a:gd name="T8" fmla="*/ 31 w 77"/>
                <a:gd name="T9" fmla="*/ 58 h 101"/>
                <a:gd name="T10" fmla="*/ 34 w 77"/>
                <a:gd name="T11" fmla="*/ 54 h 101"/>
                <a:gd name="T12" fmla="*/ 34 w 77"/>
                <a:gd name="T13" fmla="*/ 51 h 101"/>
                <a:gd name="T14" fmla="*/ 2 w 77"/>
                <a:gd name="T15" fmla="*/ 9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101">
                  <a:moveTo>
                    <a:pt x="2" y="94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29" y="66"/>
                    <a:pt x="58" y="32"/>
                    <a:pt x="77" y="0"/>
                  </a:cubicBezTo>
                  <a:cubicBezTo>
                    <a:pt x="61" y="20"/>
                    <a:pt x="50" y="35"/>
                    <a:pt x="34" y="54"/>
                  </a:cubicBezTo>
                  <a:cubicBezTo>
                    <a:pt x="35" y="55"/>
                    <a:pt x="35" y="55"/>
                    <a:pt x="31" y="58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3" y="53"/>
                    <a:pt x="34" y="51"/>
                  </a:cubicBezTo>
                  <a:cubicBezTo>
                    <a:pt x="25" y="64"/>
                    <a:pt x="13" y="80"/>
                    <a:pt x="2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8" name="Freeform 51"/>
            <p:cNvSpPr>
              <a:spLocks/>
            </p:cNvSpPr>
            <p:nvPr/>
          </p:nvSpPr>
          <p:spPr bwMode="auto">
            <a:xfrm>
              <a:off x="5575300" y="1828801"/>
              <a:ext cx="3175" cy="1588"/>
            </a:xfrm>
            <a:custGeom>
              <a:avLst/>
              <a:gdLst>
                <a:gd name="T0" fmla="*/ 0 w 4"/>
                <a:gd name="T1" fmla="*/ 3 h 3"/>
                <a:gd name="T2" fmla="*/ 3 w 4"/>
                <a:gd name="T3" fmla="*/ 0 h 3"/>
                <a:gd name="T4" fmla="*/ 0 w 4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4" y="1"/>
                    <a:pt x="4" y="0"/>
                    <a:pt x="3" y="0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9" name="Freeform 52"/>
            <p:cNvSpPr>
              <a:spLocks/>
            </p:cNvSpPr>
            <p:nvPr/>
          </p:nvSpPr>
          <p:spPr bwMode="auto">
            <a:xfrm>
              <a:off x="5789612" y="1606551"/>
              <a:ext cx="42863" cy="69850"/>
            </a:xfrm>
            <a:custGeom>
              <a:avLst/>
              <a:gdLst>
                <a:gd name="T0" fmla="*/ 24 w 50"/>
                <a:gd name="T1" fmla="*/ 31 h 80"/>
                <a:gd name="T2" fmla="*/ 3 w 50"/>
                <a:gd name="T3" fmla="*/ 66 h 80"/>
                <a:gd name="T4" fmla="*/ 0 w 50"/>
                <a:gd name="T5" fmla="*/ 80 h 80"/>
                <a:gd name="T6" fmla="*/ 2 w 50"/>
                <a:gd name="T7" fmla="*/ 77 h 80"/>
                <a:gd name="T8" fmla="*/ 38 w 50"/>
                <a:gd name="T9" fmla="*/ 22 h 80"/>
                <a:gd name="T10" fmla="*/ 50 w 50"/>
                <a:gd name="T11" fmla="*/ 0 h 80"/>
                <a:gd name="T12" fmla="*/ 24 w 50"/>
                <a:gd name="T13" fmla="*/ 3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80">
                  <a:moveTo>
                    <a:pt x="24" y="31"/>
                  </a:moveTo>
                  <a:cubicBezTo>
                    <a:pt x="14" y="49"/>
                    <a:pt x="7" y="60"/>
                    <a:pt x="3" y="66"/>
                  </a:cubicBezTo>
                  <a:cubicBezTo>
                    <a:pt x="3" y="70"/>
                    <a:pt x="2" y="74"/>
                    <a:pt x="0" y="80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3" y="14"/>
                    <a:pt x="47" y="6"/>
                    <a:pt x="50" y="0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50" name="Freeform 53"/>
            <p:cNvSpPr>
              <a:spLocks/>
            </p:cNvSpPr>
            <p:nvPr/>
          </p:nvSpPr>
          <p:spPr bwMode="auto">
            <a:xfrm>
              <a:off x="5778500" y="1638301"/>
              <a:ext cx="19050" cy="46038"/>
            </a:xfrm>
            <a:custGeom>
              <a:avLst/>
              <a:gdLst>
                <a:gd name="T0" fmla="*/ 16 w 22"/>
                <a:gd name="T1" fmla="*/ 30 h 53"/>
                <a:gd name="T2" fmla="*/ 16 w 22"/>
                <a:gd name="T3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" h="53">
                  <a:moveTo>
                    <a:pt x="16" y="30"/>
                  </a:moveTo>
                  <a:cubicBezTo>
                    <a:pt x="22" y="0"/>
                    <a:pt x="0" y="53"/>
                    <a:pt x="1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51" name="Freeform 54"/>
            <p:cNvSpPr>
              <a:spLocks/>
            </p:cNvSpPr>
            <p:nvPr/>
          </p:nvSpPr>
          <p:spPr bwMode="auto">
            <a:xfrm>
              <a:off x="5813425" y="1524001"/>
              <a:ext cx="6350" cy="9525"/>
            </a:xfrm>
            <a:custGeom>
              <a:avLst/>
              <a:gdLst>
                <a:gd name="T0" fmla="*/ 4 w 4"/>
                <a:gd name="T1" fmla="*/ 0 h 6"/>
                <a:gd name="T2" fmla="*/ 0 w 4"/>
                <a:gd name="T3" fmla="*/ 6 h 6"/>
                <a:gd name="T4" fmla="*/ 1 w 4"/>
                <a:gd name="T5" fmla="*/ 4 h 6"/>
                <a:gd name="T6" fmla="*/ 4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lnTo>
                    <a:pt x="0" y="6"/>
                  </a:ln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52" name="Freeform 55"/>
            <p:cNvSpPr>
              <a:spLocks/>
            </p:cNvSpPr>
            <p:nvPr/>
          </p:nvSpPr>
          <p:spPr bwMode="auto">
            <a:xfrm>
              <a:off x="5945187" y="1335089"/>
              <a:ext cx="49213" cy="76200"/>
            </a:xfrm>
            <a:custGeom>
              <a:avLst/>
              <a:gdLst>
                <a:gd name="T0" fmla="*/ 31 w 58"/>
                <a:gd name="T1" fmla="*/ 43 h 88"/>
                <a:gd name="T2" fmla="*/ 0 w 58"/>
                <a:gd name="T3" fmla="*/ 88 h 88"/>
                <a:gd name="T4" fmla="*/ 58 w 58"/>
                <a:gd name="T5" fmla="*/ 0 h 88"/>
                <a:gd name="T6" fmla="*/ 49 w 58"/>
                <a:gd name="T7" fmla="*/ 11 h 88"/>
                <a:gd name="T8" fmla="*/ 31 w 58"/>
                <a:gd name="T9" fmla="*/ 4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88">
                  <a:moveTo>
                    <a:pt x="31" y="43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1" y="58"/>
                    <a:pt x="43" y="27"/>
                    <a:pt x="58" y="0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6" y="19"/>
                    <a:pt x="39" y="32"/>
                    <a:pt x="3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53" name="Freeform 56"/>
            <p:cNvSpPr>
              <a:spLocks/>
            </p:cNvSpPr>
            <p:nvPr/>
          </p:nvSpPr>
          <p:spPr bwMode="auto">
            <a:xfrm>
              <a:off x="5610225" y="1444626"/>
              <a:ext cx="284163" cy="384175"/>
            </a:xfrm>
            <a:custGeom>
              <a:avLst/>
              <a:gdLst>
                <a:gd name="T0" fmla="*/ 174 w 327"/>
                <a:gd name="T1" fmla="*/ 205 h 441"/>
                <a:gd name="T2" fmla="*/ 149 w 327"/>
                <a:gd name="T3" fmla="*/ 245 h 441"/>
                <a:gd name="T4" fmla="*/ 0 w 327"/>
                <a:gd name="T5" fmla="*/ 435 h 441"/>
                <a:gd name="T6" fmla="*/ 8 w 327"/>
                <a:gd name="T7" fmla="*/ 441 h 441"/>
                <a:gd name="T8" fmla="*/ 174 w 327"/>
                <a:gd name="T9" fmla="*/ 240 h 441"/>
                <a:gd name="T10" fmla="*/ 175 w 327"/>
                <a:gd name="T11" fmla="*/ 239 h 441"/>
                <a:gd name="T12" fmla="*/ 255 w 327"/>
                <a:gd name="T13" fmla="*/ 119 h 441"/>
                <a:gd name="T14" fmla="*/ 327 w 327"/>
                <a:gd name="T15" fmla="*/ 0 h 441"/>
                <a:gd name="T16" fmla="*/ 208 w 327"/>
                <a:gd name="T17" fmla="*/ 156 h 441"/>
                <a:gd name="T18" fmla="*/ 174 w 327"/>
                <a:gd name="T19" fmla="*/ 205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7" h="441">
                  <a:moveTo>
                    <a:pt x="174" y="205"/>
                  </a:moveTo>
                  <a:cubicBezTo>
                    <a:pt x="149" y="245"/>
                    <a:pt x="149" y="245"/>
                    <a:pt x="149" y="245"/>
                  </a:cubicBezTo>
                  <a:cubicBezTo>
                    <a:pt x="107" y="307"/>
                    <a:pt x="50" y="373"/>
                    <a:pt x="0" y="435"/>
                  </a:cubicBezTo>
                  <a:cubicBezTo>
                    <a:pt x="1" y="439"/>
                    <a:pt x="4" y="441"/>
                    <a:pt x="8" y="441"/>
                  </a:cubicBezTo>
                  <a:cubicBezTo>
                    <a:pt x="68" y="378"/>
                    <a:pt x="119" y="307"/>
                    <a:pt x="174" y="240"/>
                  </a:cubicBezTo>
                  <a:cubicBezTo>
                    <a:pt x="175" y="239"/>
                    <a:pt x="175" y="239"/>
                    <a:pt x="175" y="239"/>
                  </a:cubicBezTo>
                  <a:cubicBezTo>
                    <a:pt x="192" y="205"/>
                    <a:pt x="231" y="160"/>
                    <a:pt x="255" y="119"/>
                  </a:cubicBezTo>
                  <a:cubicBezTo>
                    <a:pt x="278" y="78"/>
                    <a:pt x="304" y="40"/>
                    <a:pt x="327" y="0"/>
                  </a:cubicBezTo>
                  <a:cubicBezTo>
                    <a:pt x="287" y="53"/>
                    <a:pt x="250" y="105"/>
                    <a:pt x="208" y="156"/>
                  </a:cubicBezTo>
                  <a:lnTo>
                    <a:pt x="174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54" name="Freeform 57"/>
            <p:cNvSpPr>
              <a:spLocks/>
            </p:cNvSpPr>
            <p:nvPr/>
          </p:nvSpPr>
          <p:spPr bwMode="auto">
            <a:xfrm>
              <a:off x="5732462" y="1312864"/>
              <a:ext cx="223838" cy="311150"/>
            </a:xfrm>
            <a:custGeom>
              <a:avLst/>
              <a:gdLst>
                <a:gd name="T0" fmla="*/ 221 w 258"/>
                <a:gd name="T1" fmla="*/ 42 h 358"/>
                <a:gd name="T2" fmla="*/ 241 w 258"/>
                <a:gd name="T3" fmla="*/ 10 h 358"/>
                <a:gd name="T4" fmla="*/ 154 w 258"/>
                <a:gd name="T5" fmla="*/ 132 h 358"/>
                <a:gd name="T6" fmla="*/ 16 w 258"/>
                <a:gd name="T7" fmla="*/ 336 h 358"/>
                <a:gd name="T8" fmla="*/ 0 w 258"/>
                <a:gd name="T9" fmla="*/ 358 h 358"/>
                <a:gd name="T10" fmla="*/ 254 w 258"/>
                <a:gd name="T11" fmla="*/ 7 h 358"/>
                <a:gd name="T12" fmla="*/ 258 w 258"/>
                <a:gd name="T13" fmla="*/ 0 h 358"/>
                <a:gd name="T14" fmla="*/ 151 w 258"/>
                <a:gd name="T15" fmla="*/ 149 h 358"/>
                <a:gd name="T16" fmla="*/ 221 w 258"/>
                <a:gd name="T17" fmla="*/ 42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358">
                  <a:moveTo>
                    <a:pt x="221" y="42"/>
                  </a:moveTo>
                  <a:cubicBezTo>
                    <a:pt x="241" y="10"/>
                    <a:pt x="241" y="10"/>
                    <a:pt x="241" y="10"/>
                  </a:cubicBezTo>
                  <a:cubicBezTo>
                    <a:pt x="154" y="132"/>
                    <a:pt x="154" y="132"/>
                    <a:pt x="154" y="132"/>
                  </a:cubicBezTo>
                  <a:cubicBezTo>
                    <a:pt x="16" y="336"/>
                    <a:pt x="16" y="336"/>
                    <a:pt x="16" y="336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96" y="240"/>
                    <a:pt x="188" y="119"/>
                    <a:pt x="254" y="7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22" y="50"/>
                    <a:pt x="186" y="100"/>
                    <a:pt x="151" y="149"/>
                  </a:cubicBezTo>
                  <a:lnTo>
                    <a:pt x="221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55" name="Freeform 58"/>
            <p:cNvSpPr>
              <a:spLocks/>
            </p:cNvSpPr>
            <p:nvPr/>
          </p:nvSpPr>
          <p:spPr bwMode="auto">
            <a:xfrm>
              <a:off x="5786437" y="1565276"/>
              <a:ext cx="14288" cy="20638"/>
            </a:xfrm>
            <a:custGeom>
              <a:avLst/>
              <a:gdLst>
                <a:gd name="T0" fmla="*/ 9 w 9"/>
                <a:gd name="T1" fmla="*/ 0 h 13"/>
                <a:gd name="T2" fmla="*/ 5 w 9"/>
                <a:gd name="T3" fmla="*/ 6 h 13"/>
                <a:gd name="T4" fmla="*/ 0 w 9"/>
                <a:gd name="T5" fmla="*/ 13 h 13"/>
                <a:gd name="T6" fmla="*/ 3 w 9"/>
                <a:gd name="T7" fmla="*/ 10 h 13"/>
                <a:gd name="T8" fmla="*/ 9 w 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9" y="0"/>
                  </a:moveTo>
                  <a:lnTo>
                    <a:pt x="5" y="6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56" name="Freeform 59"/>
            <p:cNvSpPr>
              <a:spLocks/>
            </p:cNvSpPr>
            <p:nvPr/>
          </p:nvSpPr>
          <p:spPr bwMode="auto">
            <a:xfrm>
              <a:off x="5891212" y="1411289"/>
              <a:ext cx="53975" cy="79375"/>
            </a:xfrm>
            <a:custGeom>
              <a:avLst/>
              <a:gdLst>
                <a:gd name="T0" fmla="*/ 0 w 61"/>
                <a:gd name="T1" fmla="*/ 92 h 92"/>
                <a:gd name="T2" fmla="*/ 1 w 61"/>
                <a:gd name="T3" fmla="*/ 91 h 92"/>
                <a:gd name="T4" fmla="*/ 27 w 61"/>
                <a:gd name="T5" fmla="*/ 54 h 92"/>
                <a:gd name="T6" fmla="*/ 61 w 61"/>
                <a:gd name="T7" fmla="*/ 0 h 92"/>
                <a:gd name="T8" fmla="*/ 0 w 61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92">
                  <a:moveTo>
                    <a:pt x="0" y="92"/>
                  </a:moveTo>
                  <a:cubicBezTo>
                    <a:pt x="1" y="91"/>
                    <a:pt x="1" y="91"/>
                    <a:pt x="1" y="91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37" y="37"/>
                    <a:pt x="49" y="18"/>
                    <a:pt x="61" y="0"/>
                  </a:cubicBezTo>
                  <a:cubicBezTo>
                    <a:pt x="38" y="33"/>
                    <a:pt x="15" y="65"/>
                    <a:pt x="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57" name="Freeform 60"/>
            <p:cNvSpPr>
              <a:spLocks/>
            </p:cNvSpPr>
            <p:nvPr/>
          </p:nvSpPr>
          <p:spPr bwMode="auto">
            <a:xfrm>
              <a:off x="5978525" y="1397001"/>
              <a:ext cx="12700" cy="20638"/>
            </a:xfrm>
            <a:custGeom>
              <a:avLst/>
              <a:gdLst>
                <a:gd name="T0" fmla="*/ 0 w 14"/>
                <a:gd name="T1" fmla="*/ 23 h 23"/>
                <a:gd name="T2" fmla="*/ 11 w 14"/>
                <a:gd name="T3" fmla="*/ 8 h 23"/>
                <a:gd name="T4" fmla="*/ 14 w 14"/>
                <a:gd name="T5" fmla="*/ 0 h 23"/>
                <a:gd name="T6" fmla="*/ 6 w 14"/>
                <a:gd name="T7" fmla="*/ 11 h 23"/>
                <a:gd name="T8" fmla="*/ 0 w 14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3">
                  <a:moveTo>
                    <a:pt x="0" y="23"/>
                  </a:moveTo>
                  <a:cubicBezTo>
                    <a:pt x="2" y="19"/>
                    <a:pt x="8" y="12"/>
                    <a:pt x="11" y="8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11"/>
                    <a:pt x="6" y="11"/>
                    <a:pt x="6" y="11"/>
                  </a:cubicBezTo>
                  <a:lnTo>
                    <a:pt x="0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</p:grpSp>
      <p:grpSp>
        <p:nvGrpSpPr>
          <p:cNvPr id="62" name="Gruppieren 61"/>
          <p:cNvGrpSpPr/>
          <p:nvPr/>
        </p:nvGrpSpPr>
        <p:grpSpPr>
          <a:xfrm>
            <a:off x="5633774" y="1592356"/>
            <a:ext cx="2012951" cy="2932266"/>
            <a:chOff x="3048287" y="3010770"/>
            <a:chExt cx="133350" cy="194251"/>
          </a:xfr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3" name="Rectangle 29"/>
            <p:cNvSpPr>
              <a:spLocks noChangeArrowheads="1"/>
            </p:cNvSpPr>
            <p:nvPr/>
          </p:nvSpPr>
          <p:spPr bwMode="auto">
            <a:xfrm>
              <a:off x="3095537" y="3169321"/>
              <a:ext cx="35700" cy="35700"/>
            </a:xfrm>
            <a:prstGeom prst="rect">
              <a:avLst/>
            </a:prstGeom>
            <a:solidFill>
              <a:srgbClr val="0092D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135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74" name="Freeform 30"/>
            <p:cNvSpPr>
              <a:spLocks/>
            </p:cNvSpPr>
            <p:nvPr/>
          </p:nvSpPr>
          <p:spPr bwMode="auto">
            <a:xfrm>
              <a:off x="3048287" y="3010770"/>
              <a:ext cx="133350" cy="140701"/>
            </a:xfrm>
            <a:custGeom>
              <a:avLst/>
              <a:gdLst>
                <a:gd name="T0" fmla="*/ 122 w 501"/>
                <a:gd name="T1" fmla="*/ 226 h 526"/>
                <a:gd name="T2" fmla="*/ 0 w 501"/>
                <a:gd name="T3" fmla="*/ 208 h 526"/>
                <a:gd name="T4" fmla="*/ 62 w 501"/>
                <a:gd name="T5" fmla="*/ 73 h 526"/>
                <a:gd name="T6" fmla="*/ 243 w 501"/>
                <a:gd name="T7" fmla="*/ 9 h 526"/>
                <a:gd name="T8" fmla="*/ 444 w 501"/>
                <a:gd name="T9" fmla="*/ 79 h 526"/>
                <a:gd name="T10" fmla="*/ 494 w 501"/>
                <a:gd name="T11" fmla="*/ 219 h 526"/>
                <a:gd name="T12" fmla="*/ 428 w 501"/>
                <a:gd name="T13" fmla="*/ 340 h 526"/>
                <a:gd name="T14" fmla="*/ 335 w 501"/>
                <a:gd name="T15" fmla="*/ 421 h 526"/>
                <a:gd name="T16" fmla="*/ 303 w 501"/>
                <a:gd name="T17" fmla="*/ 526 h 526"/>
                <a:gd name="T18" fmla="*/ 182 w 501"/>
                <a:gd name="T19" fmla="*/ 526 h 526"/>
                <a:gd name="T20" fmla="*/ 242 w 501"/>
                <a:gd name="T21" fmla="*/ 348 h 526"/>
                <a:gd name="T22" fmla="*/ 365 w 501"/>
                <a:gd name="T23" fmla="*/ 204 h 526"/>
                <a:gd name="T24" fmla="*/ 251 w 501"/>
                <a:gd name="T25" fmla="*/ 111 h 526"/>
                <a:gd name="T26" fmla="*/ 122 w 501"/>
                <a:gd name="T27" fmla="*/ 22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1" h="526">
                  <a:moveTo>
                    <a:pt x="122" y="226"/>
                  </a:moveTo>
                  <a:cubicBezTo>
                    <a:pt x="62" y="218"/>
                    <a:pt x="3" y="211"/>
                    <a:pt x="0" y="208"/>
                  </a:cubicBezTo>
                  <a:cubicBezTo>
                    <a:pt x="5" y="153"/>
                    <a:pt x="27" y="109"/>
                    <a:pt x="62" y="73"/>
                  </a:cubicBezTo>
                  <a:cubicBezTo>
                    <a:pt x="99" y="36"/>
                    <a:pt x="164" y="9"/>
                    <a:pt x="243" y="9"/>
                  </a:cubicBezTo>
                  <a:cubicBezTo>
                    <a:pt x="314" y="10"/>
                    <a:pt x="367" y="0"/>
                    <a:pt x="444" y="79"/>
                  </a:cubicBezTo>
                  <a:cubicBezTo>
                    <a:pt x="482" y="120"/>
                    <a:pt x="501" y="176"/>
                    <a:pt x="494" y="219"/>
                  </a:cubicBezTo>
                  <a:cubicBezTo>
                    <a:pt x="483" y="288"/>
                    <a:pt x="458" y="308"/>
                    <a:pt x="428" y="340"/>
                  </a:cubicBezTo>
                  <a:cubicBezTo>
                    <a:pt x="401" y="370"/>
                    <a:pt x="369" y="387"/>
                    <a:pt x="335" y="421"/>
                  </a:cubicBezTo>
                  <a:cubicBezTo>
                    <a:pt x="301" y="455"/>
                    <a:pt x="305" y="481"/>
                    <a:pt x="303" y="526"/>
                  </a:cubicBezTo>
                  <a:cubicBezTo>
                    <a:pt x="303" y="526"/>
                    <a:pt x="242" y="526"/>
                    <a:pt x="182" y="526"/>
                  </a:cubicBezTo>
                  <a:cubicBezTo>
                    <a:pt x="180" y="406"/>
                    <a:pt x="213" y="379"/>
                    <a:pt x="242" y="348"/>
                  </a:cubicBezTo>
                  <a:cubicBezTo>
                    <a:pt x="271" y="317"/>
                    <a:pt x="361" y="243"/>
                    <a:pt x="365" y="204"/>
                  </a:cubicBezTo>
                  <a:cubicBezTo>
                    <a:pt x="372" y="141"/>
                    <a:pt x="291" y="107"/>
                    <a:pt x="251" y="111"/>
                  </a:cubicBezTo>
                  <a:cubicBezTo>
                    <a:pt x="211" y="115"/>
                    <a:pt x="153" y="121"/>
                    <a:pt x="122" y="226"/>
                  </a:cubicBezTo>
                  <a:close/>
                </a:path>
              </a:pathLst>
            </a:custGeom>
            <a:solidFill>
              <a:srgbClr val="0092D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135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</p:grpSp>
      <p:sp>
        <p:nvSpPr>
          <p:cNvPr id="58" name="Textfeld 57"/>
          <p:cNvSpPr txBox="1"/>
          <p:nvPr/>
        </p:nvSpPr>
        <p:spPr>
          <a:xfrm>
            <a:off x="306597" y="6596390"/>
            <a:ext cx="8258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Seite </a:t>
            </a:r>
            <a:fld id="{CE339489-ACA9-B54D-8689-83BF6B8CCA9F}" type="slidenum">
              <a:rPr lang="de-DE" sz="10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2</a:t>
            </a:fld>
            <a: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|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257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9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30" descr="L:\Kunden\000 nfon\1232612543Siemens_hipath4000[1].jpg"/>
          <p:cNvPicPr>
            <a:picLocks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919" t="-4413" r="-25919" b="-4413"/>
          <a:stretch/>
        </p:blipFill>
        <p:spPr bwMode="auto">
          <a:xfrm>
            <a:off x="5473468" y="1348773"/>
            <a:ext cx="3581806" cy="4528800"/>
          </a:xfrm>
          <a:prstGeom prst="roundRect">
            <a:avLst>
              <a:gd name="adj" fmla="val 1803"/>
            </a:avLst>
          </a:prstGeom>
          <a:solidFill>
            <a:schemeClr val="bg1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schemeClr val="accent5">
                <a:alpha val="40000"/>
              </a:schemeClr>
            </a:outerShdw>
          </a:effectLst>
          <a:extLst/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0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Inhaltsplatzhalter 2"/>
          <p:cNvSpPr txBox="1">
            <a:spLocks/>
          </p:cNvSpPr>
          <p:nvPr/>
        </p:nvSpPr>
        <p:spPr bwMode="gray">
          <a:xfrm>
            <a:off x="538163" y="1262739"/>
            <a:ext cx="5543323" cy="532674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180975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8025" indent="-165100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42900" lvl="0" indent="-342900"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+mj-lt"/>
              <a:buAutoNum type="arabicPeriod"/>
              <a:defRPr/>
            </a:pP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Die klassischen Leistungsmerkmale einer </a:t>
            </a:r>
            <a:r>
              <a:rPr lang="de-DE" b="1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Highend</a:t>
            </a:r>
            <a:r>
              <a:rPr lang="de-DE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-Telefonanlage</a:t>
            </a: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(&gt; 160 Features)</a:t>
            </a:r>
          </a:p>
          <a:p>
            <a:pPr marL="342900" lvl="0" indent="-342900"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+mj-lt"/>
              <a:buAutoNum type="arabicPeriod"/>
              <a:defRPr/>
            </a:pP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Ergänzung um </a:t>
            </a:r>
            <a:r>
              <a:rPr lang="de-DE" u="sng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wirklich</a:t>
            </a: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roduktivitätssteigernde UCC-Merkmale</a:t>
            </a: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(Audio-</a:t>
            </a:r>
            <a:r>
              <a:rPr lang="de-DE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onferences</a:t>
            </a: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de-DE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resentation</a:t>
            </a: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-/Desktop- Sharing, Call Center-Funktionalitäten, Integration von Smartphones)</a:t>
            </a:r>
          </a:p>
          <a:p>
            <a:pPr marL="342900" lvl="0" indent="-342900"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+mj-lt"/>
              <a:buAutoNum type="arabicPeriod"/>
              <a:defRPr/>
            </a:pP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Ein</a:t>
            </a:r>
            <a:r>
              <a:rPr lang="de-DE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einfaches, transparentes und faires Preismodell</a:t>
            </a:r>
          </a:p>
          <a:p>
            <a:pPr lvl="2"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defRPr/>
            </a:pPr>
            <a:r>
              <a:rPr lang="de-DE" sz="1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Abrechnung nach tatsächlich benötigter Anzahl Nebenstellen, monatliche Kündigung</a:t>
            </a:r>
          </a:p>
          <a:p>
            <a:pPr lvl="2"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defRPr/>
            </a:pPr>
            <a:r>
              <a:rPr lang="de-DE" sz="1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Künftige Innovationen im Preis inkludiert</a:t>
            </a:r>
          </a:p>
          <a:p>
            <a:pPr lvl="2"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defRPr/>
            </a:pPr>
            <a:r>
              <a:rPr lang="de-DE" sz="1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Keine Überraschungen später (Updates, Erweiterungen </a:t>
            </a:r>
            <a:r>
              <a:rPr lang="de-DE" sz="14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etc</a:t>
            </a:r>
            <a:r>
              <a:rPr lang="de-DE" sz="1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342900" indent="-342900"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+mj-lt"/>
              <a:buAutoNum type="arabicPeriod"/>
              <a:defRPr/>
            </a:pP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Volle</a:t>
            </a:r>
            <a:r>
              <a:rPr lang="de-DE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Offenheit </a:t>
            </a: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in Bezug auf Endgeräte, Integrationen mit Drittsoftware, Mobilgeräte</a:t>
            </a:r>
          </a:p>
          <a:p>
            <a:pPr marL="342900" indent="-342900"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+mj-lt"/>
              <a:buAutoNum type="arabicPeriod"/>
              <a:defRPr/>
            </a:pPr>
            <a:r>
              <a:rPr lang="de-DE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… und </a:t>
            </a:r>
            <a:r>
              <a:rPr lang="de-DE" b="1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Einfachheit und Schnelligkeit </a:t>
            </a:r>
            <a:r>
              <a:rPr lang="de-DE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bei Zero-Touch-Rollout, Administration, Umzügen und problemlose Einbindung multipler Standorte inkl. Homeoffices</a:t>
            </a:r>
          </a:p>
          <a:p>
            <a:pPr lvl="1"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defRPr/>
            </a:pPr>
            <a:endParaRPr lang="de-DE" kern="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3" name="Titel 4"/>
          <p:cNvSpPr>
            <a:spLocks noGrp="1"/>
          </p:cNvSpPr>
          <p:nvPr>
            <p:ph type="title"/>
          </p:nvPr>
        </p:nvSpPr>
        <p:spPr>
          <a:xfrm>
            <a:off x="538163" y="259318"/>
            <a:ext cx="8343900" cy="738664"/>
          </a:xfrm>
        </p:spPr>
        <p:txBody>
          <a:bodyPr wrap="square" lIns="0" tIns="0" rIns="0" bIns="0">
            <a:spAutoFit/>
          </a:bodyPr>
          <a:lstStyle/>
          <a:p>
            <a:r>
              <a:rPr lang="de-DE" cap="none" dirty="0" smtClean="0">
                <a:solidFill>
                  <a:srgbClr val="066BB1"/>
                </a:solidFill>
                <a:latin typeface="Arial" pitchFamily="34" charset="0"/>
              </a:rPr>
              <a:t>NFON </a:t>
            </a:r>
            <a:r>
              <a:rPr lang="de-DE" dirty="0" smtClean="0">
                <a:solidFill>
                  <a:srgbClr val="066BB1"/>
                </a:solidFill>
              </a:rPr>
              <a:t>reduziert Geschäftskommunikation auf das, was Unternehmen wirklich brauchen – ohne Gimmicks !</a:t>
            </a:r>
            <a:endParaRPr lang="de-DE" cap="none" dirty="0">
              <a:solidFill>
                <a:srgbClr val="066BB1"/>
              </a:solidFill>
              <a:latin typeface="Arial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CE339489-ACA9-B54D-8689-83BF6B8CCA9F}" type="slidenum">
              <a:rPr lang="de-DE" smtClean="0"/>
              <a:pPr/>
              <a:t>3</a:t>
            </a:fld>
            <a:r>
              <a:rPr lang="de-DE" dirty="0" smtClean="0"/>
              <a:t> | </a:t>
            </a:r>
            <a:endParaRPr lang="de-DE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5781639" y="1157713"/>
            <a:ext cx="3153148" cy="4189294"/>
            <a:chOff x="5441950" y="457201"/>
            <a:chExt cx="1295400" cy="1373188"/>
          </a:xfr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Freeform 28"/>
            <p:cNvSpPr>
              <a:spLocks/>
            </p:cNvSpPr>
            <p:nvPr/>
          </p:nvSpPr>
          <p:spPr bwMode="auto">
            <a:xfrm>
              <a:off x="5473700" y="600076"/>
              <a:ext cx="6350" cy="4763"/>
            </a:xfrm>
            <a:custGeom>
              <a:avLst/>
              <a:gdLst>
                <a:gd name="T0" fmla="*/ 1 w 7"/>
                <a:gd name="T1" fmla="*/ 0 h 5"/>
                <a:gd name="T2" fmla="*/ 0 w 7"/>
                <a:gd name="T3" fmla="*/ 1 h 5"/>
                <a:gd name="T4" fmla="*/ 7 w 7"/>
                <a:gd name="T5" fmla="*/ 5 h 5"/>
                <a:gd name="T6" fmla="*/ 1 w 7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5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4" y="2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15" name="Freeform 29"/>
            <p:cNvSpPr>
              <a:spLocks/>
            </p:cNvSpPr>
            <p:nvPr/>
          </p:nvSpPr>
          <p:spPr bwMode="auto">
            <a:xfrm>
              <a:off x="5489575" y="596901"/>
              <a:ext cx="3175" cy="1588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1 h 1"/>
                <a:gd name="T4" fmla="*/ 2 w 2"/>
                <a:gd name="T5" fmla="*/ 1 h 1"/>
                <a:gd name="T6" fmla="*/ 1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lnTo>
                    <a:pt x="0" y="1"/>
                  </a:lnTo>
                  <a:lnTo>
                    <a:pt x="2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16" name="Freeform 30"/>
            <p:cNvSpPr>
              <a:spLocks/>
            </p:cNvSpPr>
            <p:nvPr/>
          </p:nvSpPr>
          <p:spPr bwMode="auto">
            <a:xfrm>
              <a:off x="5441950" y="601664"/>
              <a:ext cx="63500" cy="31750"/>
            </a:xfrm>
            <a:custGeom>
              <a:avLst/>
              <a:gdLst>
                <a:gd name="T0" fmla="*/ 37 w 73"/>
                <a:gd name="T1" fmla="*/ 0 h 37"/>
                <a:gd name="T2" fmla="*/ 30 w 73"/>
                <a:gd name="T3" fmla="*/ 11 h 37"/>
                <a:gd name="T4" fmla="*/ 16 w 73"/>
                <a:gd name="T5" fmla="*/ 1 h 37"/>
                <a:gd name="T6" fmla="*/ 12 w 73"/>
                <a:gd name="T7" fmla="*/ 7 h 37"/>
                <a:gd name="T8" fmla="*/ 4 w 73"/>
                <a:gd name="T9" fmla="*/ 3 h 37"/>
                <a:gd name="T10" fmla="*/ 9 w 73"/>
                <a:gd name="T11" fmla="*/ 13 h 37"/>
                <a:gd name="T12" fmla="*/ 37 w 73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37">
                  <a:moveTo>
                    <a:pt x="37" y="0"/>
                  </a:moveTo>
                  <a:cubicBezTo>
                    <a:pt x="35" y="4"/>
                    <a:pt x="35" y="9"/>
                    <a:pt x="30" y="11"/>
                  </a:cubicBezTo>
                  <a:cubicBezTo>
                    <a:pt x="26" y="8"/>
                    <a:pt x="19" y="3"/>
                    <a:pt x="16" y="1"/>
                  </a:cubicBezTo>
                  <a:cubicBezTo>
                    <a:pt x="11" y="0"/>
                    <a:pt x="13" y="5"/>
                    <a:pt x="12" y="7"/>
                  </a:cubicBezTo>
                  <a:cubicBezTo>
                    <a:pt x="8" y="4"/>
                    <a:pt x="5" y="2"/>
                    <a:pt x="4" y="3"/>
                  </a:cubicBezTo>
                  <a:cubicBezTo>
                    <a:pt x="0" y="4"/>
                    <a:pt x="3" y="8"/>
                    <a:pt x="9" y="13"/>
                  </a:cubicBezTo>
                  <a:cubicBezTo>
                    <a:pt x="31" y="13"/>
                    <a:pt x="73" y="37"/>
                    <a:pt x="3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17" name="Freeform 31"/>
            <p:cNvSpPr>
              <a:spLocks/>
            </p:cNvSpPr>
            <p:nvPr/>
          </p:nvSpPr>
          <p:spPr bwMode="auto">
            <a:xfrm>
              <a:off x="5480050" y="600076"/>
              <a:ext cx="23813" cy="12700"/>
            </a:xfrm>
            <a:custGeom>
              <a:avLst/>
              <a:gdLst>
                <a:gd name="T0" fmla="*/ 7 w 26"/>
                <a:gd name="T1" fmla="*/ 0 h 14"/>
                <a:gd name="T2" fmla="*/ 0 w 26"/>
                <a:gd name="T3" fmla="*/ 5 h 14"/>
                <a:gd name="T4" fmla="*/ 26 w 26"/>
                <a:gd name="T5" fmla="*/ 14 h 14"/>
                <a:gd name="T6" fmla="*/ 7 w 26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4">
                  <a:moveTo>
                    <a:pt x="7" y="0"/>
                  </a:moveTo>
                  <a:cubicBezTo>
                    <a:pt x="4" y="1"/>
                    <a:pt x="0" y="1"/>
                    <a:pt x="0" y="5"/>
                  </a:cubicBezTo>
                  <a:cubicBezTo>
                    <a:pt x="11" y="10"/>
                    <a:pt x="18" y="13"/>
                    <a:pt x="26" y="14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18" name="Freeform 32"/>
            <p:cNvSpPr>
              <a:spLocks/>
            </p:cNvSpPr>
            <p:nvPr/>
          </p:nvSpPr>
          <p:spPr bwMode="auto">
            <a:xfrm>
              <a:off x="6635750" y="1647826"/>
              <a:ext cx="92075" cy="55563"/>
            </a:xfrm>
            <a:custGeom>
              <a:avLst/>
              <a:gdLst>
                <a:gd name="T0" fmla="*/ 58 w 107"/>
                <a:gd name="T1" fmla="*/ 37 h 65"/>
                <a:gd name="T2" fmla="*/ 62 w 107"/>
                <a:gd name="T3" fmla="*/ 39 h 65"/>
                <a:gd name="T4" fmla="*/ 58 w 107"/>
                <a:gd name="T5" fmla="*/ 37 h 65"/>
                <a:gd name="T6" fmla="*/ 55 w 107"/>
                <a:gd name="T7" fmla="*/ 37 h 65"/>
                <a:gd name="T8" fmla="*/ 100 w 107"/>
                <a:gd name="T9" fmla="*/ 64 h 65"/>
                <a:gd name="T10" fmla="*/ 107 w 107"/>
                <a:gd name="T11" fmla="*/ 65 h 65"/>
                <a:gd name="T12" fmla="*/ 0 w 107"/>
                <a:gd name="T13" fmla="*/ 0 h 65"/>
                <a:gd name="T14" fmla="*/ 58 w 107"/>
                <a:gd name="T15" fmla="*/ 3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" h="65">
                  <a:moveTo>
                    <a:pt x="58" y="37"/>
                  </a:moveTo>
                  <a:cubicBezTo>
                    <a:pt x="58" y="36"/>
                    <a:pt x="59" y="36"/>
                    <a:pt x="62" y="39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7" y="37"/>
                    <a:pt x="57" y="38"/>
                    <a:pt x="55" y="37"/>
                  </a:cubicBezTo>
                  <a:cubicBezTo>
                    <a:pt x="69" y="45"/>
                    <a:pt x="85" y="55"/>
                    <a:pt x="100" y="64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70" y="41"/>
                    <a:pt x="34" y="16"/>
                    <a:pt x="0" y="0"/>
                  </a:cubicBezTo>
                  <a:cubicBezTo>
                    <a:pt x="22" y="15"/>
                    <a:pt x="37" y="23"/>
                    <a:pt x="5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19" name="Freeform 33"/>
            <p:cNvSpPr>
              <a:spLocks/>
            </p:cNvSpPr>
            <p:nvPr/>
          </p:nvSpPr>
          <p:spPr bwMode="auto">
            <a:xfrm>
              <a:off x="6734175" y="1700214"/>
              <a:ext cx="3175" cy="3175"/>
            </a:xfrm>
            <a:custGeom>
              <a:avLst/>
              <a:gdLst>
                <a:gd name="T0" fmla="*/ 0 w 4"/>
                <a:gd name="T1" fmla="*/ 1 h 4"/>
                <a:gd name="T2" fmla="*/ 4 w 4"/>
                <a:gd name="T3" fmla="*/ 4 h 4"/>
                <a:gd name="T4" fmla="*/ 0 w 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0" name="Freeform 34"/>
            <p:cNvSpPr>
              <a:spLocks/>
            </p:cNvSpPr>
            <p:nvPr/>
          </p:nvSpPr>
          <p:spPr bwMode="auto">
            <a:xfrm>
              <a:off x="6115050" y="1273176"/>
              <a:ext cx="104775" cy="71438"/>
            </a:xfrm>
            <a:custGeom>
              <a:avLst/>
              <a:gdLst>
                <a:gd name="T0" fmla="*/ 67 w 120"/>
                <a:gd name="T1" fmla="*/ 40 h 81"/>
                <a:gd name="T2" fmla="*/ 0 w 120"/>
                <a:gd name="T3" fmla="*/ 0 h 81"/>
                <a:gd name="T4" fmla="*/ 120 w 120"/>
                <a:gd name="T5" fmla="*/ 81 h 81"/>
                <a:gd name="T6" fmla="*/ 67 w 120"/>
                <a:gd name="T7" fmla="*/ 4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0" h="81">
                  <a:moveTo>
                    <a:pt x="67" y="40"/>
                  </a:moveTo>
                  <a:cubicBezTo>
                    <a:pt x="44" y="24"/>
                    <a:pt x="21" y="13"/>
                    <a:pt x="0" y="0"/>
                  </a:cubicBezTo>
                  <a:cubicBezTo>
                    <a:pt x="45" y="31"/>
                    <a:pt x="87" y="60"/>
                    <a:pt x="120" y="81"/>
                  </a:cubicBezTo>
                  <a:cubicBezTo>
                    <a:pt x="102" y="67"/>
                    <a:pt x="83" y="52"/>
                    <a:pt x="67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1" name="Freeform 35"/>
            <p:cNvSpPr>
              <a:spLocks/>
            </p:cNvSpPr>
            <p:nvPr/>
          </p:nvSpPr>
          <p:spPr bwMode="auto">
            <a:xfrm>
              <a:off x="6505575" y="1466851"/>
              <a:ext cx="68263" cy="39688"/>
            </a:xfrm>
            <a:custGeom>
              <a:avLst/>
              <a:gdLst>
                <a:gd name="T0" fmla="*/ 30 w 79"/>
                <a:gd name="T1" fmla="*/ 24 h 46"/>
                <a:gd name="T2" fmla="*/ 65 w 79"/>
                <a:gd name="T3" fmla="*/ 43 h 46"/>
                <a:gd name="T4" fmla="*/ 79 w 79"/>
                <a:gd name="T5" fmla="*/ 46 h 46"/>
                <a:gd name="T6" fmla="*/ 76 w 79"/>
                <a:gd name="T7" fmla="*/ 44 h 46"/>
                <a:gd name="T8" fmla="*/ 22 w 79"/>
                <a:gd name="T9" fmla="*/ 11 h 46"/>
                <a:gd name="T10" fmla="*/ 0 w 79"/>
                <a:gd name="T11" fmla="*/ 0 h 46"/>
                <a:gd name="T12" fmla="*/ 30 w 79"/>
                <a:gd name="T13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46">
                  <a:moveTo>
                    <a:pt x="30" y="24"/>
                  </a:moveTo>
                  <a:cubicBezTo>
                    <a:pt x="49" y="33"/>
                    <a:pt x="59" y="39"/>
                    <a:pt x="65" y="43"/>
                  </a:cubicBezTo>
                  <a:cubicBezTo>
                    <a:pt x="68" y="44"/>
                    <a:pt x="73" y="45"/>
                    <a:pt x="79" y="46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14" y="6"/>
                    <a:pt x="7" y="3"/>
                    <a:pt x="0" y="0"/>
                  </a:cubicBezTo>
                  <a:lnTo>
                    <a:pt x="3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2" name="Freeform 36"/>
            <p:cNvSpPr>
              <a:spLocks/>
            </p:cNvSpPr>
            <p:nvPr/>
          </p:nvSpPr>
          <p:spPr bwMode="auto">
            <a:xfrm>
              <a:off x="6535737" y="1500189"/>
              <a:ext cx="46038" cy="17463"/>
            </a:xfrm>
            <a:custGeom>
              <a:avLst/>
              <a:gdLst>
                <a:gd name="T0" fmla="*/ 29 w 52"/>
                <a:gd name="T1" fmla="*/ 4 h 19"/>
                <a:gd name="T2" fmla="*/ 29 w 52"/>
                <a:gd name="T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2" h="19">
                  <a:moveTo>
                    <a:pt x="29" y="4"/>
                  </a:moveTo>
                  <a:cubicBezTo>
                    <a:pt x="0" y="0"/>
                    <a:pt x="52" y="19"/>
                    <a:pt x="2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3" name="Freeform 37"/>
            <p:cNvSpPr>
              <a:spLocks/>
            </p:cNvSpPr>
            <p:nvPr/>
          </p:nvSpPr>
          <p:spPr bwMode="auto">
            <a:xfrm>
              <a:off x="6423025" y="1481139"/>
              <a:ext cx="9525" cy="6350"/>
            </a:xfrm>
            <a:custGeom>
              <a:avLst/>
              <a:gdLst>
                <a:gd name="T0" fmla="*/ 0 w 6"/>
                <a:gd name="T1" fmla="*/ 0 h 4"/>
                <a:gd name="T2" fmla="*/ 6 w 6"/>
                <a:gd name="T3" fmla="*/ 4 h 4"/>
                <a:gd name="T4" fmla="*/ 5 w 6"/>
                <a:gd name="T5" fmla="*/ 2 h 4"/>
                <a:gd name="T6" fmla="*/ 0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6" y="4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4" name="Freeform 38"/>
            <p:cNvSpPr>
              <a:spLocks/>
            </p:cNvSpPr>
            <p:nvPr/>
          </p:nvSpPr>
          <p:spPr bwMode="auto">
            <a:xfrm>
              <a:off x="6242050" y="1304926"/>
              <a:ext cx="73025" cy="50800"/>
            </a:xfrm>
            <a:custGeom>
              <a:avLst/>
              <a:gdLst>
                <a:gd name="T0" fmla="*/ 42 w 85"/>
                <a:gd name="T1" fmla="*/ 28 h 59"/>
                <a:gd name="T2" fmla="*/ 85 w 85"/>
                <a:gd name="T3" fmla="*/ 59 h 59"/>
                <a:gd name="T4" fmla="*/ 0 w 85"/>
                <a:gd name="T5" fmla="*/ 0 h 59"/>
                <a:gd name="T6" fmla="*/ 10 w 85"/>
                <a:gd name="T7" fmla="*/ 10 h 59"/>
                <a:gd name="T8" fmla="*/ 42 w 85"/>
                <a:gd name="T9" fmla="*/ 2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59">
                  <a:moveTo>
                    <a:pt x="42" y="28"/>
                  </a:moveTo>
                  <a:cubicBezTo>
                    <a:pt x="85" y="59"/>
                    <a:pt x="85" y="59"/>
                    <a:pt x="85" y="59"/>
                  </a:cubicBezTo>
                  <a:cubicBezTo>
                    <a:pt x="56" y="38"/>
                    <a:pt x="26" y="16"/>
                    <a:pt x="0" y="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9" y="13"/>
                    <a:pt x="31" y="20"/>
                    <a:pt x="4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5" name="Freeform 39"/>
            <p:cNvSpPr>
              <a:spLocks noEditPoints="1"/>
            </p:cNvSpPr>
            <p:nvPr/>
          </p:nvSpPr>
          <p:spPr bwMode="auto">
            <a:xfrm>
              <a:off x="5480050" y="492126"/>
              <a:ext cx="1239838" cy="1323975"/>
            </a:xfrm>
            <a:custGeom>
              <a:avLst/>
              <a:gdLst>
                <a:gd name="T0" fmla="*/ 1011 w 1426"/>
                <a:gd name="T1" fmla="*/ 1063 h 1523"/>
                <a:gd name="T2" fmla="*/ 824 w 1426"/>
                <a:gd name="T3" fmla="*/ 943 h 1523"/>
                <a:gd name="T4" fmla="*/ 989 w 1426"/>
                <a:gd name="T5" fmla="*/ 1048 h 1523"/>
                <a:gd name="T6" fmla="*/ 1189 w 1426"/>
                <a:gd name="T7" fmla="*/ 1162 h 1523"/>
                <a:gd name="T8" fmla="*/ 1114 w 1426"/>
                <a:gd name="T9" fmla="*/ 1074 h 1523"/>
                <a:gd name="T10" fmla="*/ 1202 w 1426"/>
                <a:gd name="T11" fmla="*/ 1132 h 1523"/>
                <a:gd name="T12" fmla="*/ 1182 w 1426"/>
                <a:gd name="T13" fmla="*/ 1104 h 1523"/>
                <a:gd name="T14" fmla="*/ 750 w 1426"/>
                <a:gd name="T15" fmla="*/ 807 h 1523"/>
                <a:gd name="T16" fmla="*/ 947 w 1426"/>
                <a:gd name="T17" fmla="*/ 940 h 1523"/>
                <a:gd name="T18" fmla="*/ 741 w 1426"/>
                <a:gd name="T19" fmla="*/ 798 h 1523"/>
                <a:gd name="T20" fmla="*/ 1018 w 1426"/>
                <a:gd name="T21" fmla="*/ 429 h 1523"/>
                <a:gd name="T22" fmla="*/ 1328 w 1426"/>
                <a:gd name="T23" fmla="*/ 92 h 1523"/>
                <a:gd name="T24" fmla="*/ 1333 w 1426"/>
                <a:gd name="T25" fmla="*/ 54 h 1523"/>
                <a:gd name="T26" fmla="*/ 1329 w 1426"/>
                <a:gd name="T27" fmla="*/ 38 h 1523"/>
                <a:gd name="T28" fmla="*/ 1227 w 1426"/>
                <a:gd name="T29" fmla="*/ 74 h 1523"/>
                <a:gd name="T30" fmla="*/ 910 w 1426"/>
                <a:gd name="T31" fmla="*/ 428 h 1523"/>
                <a:gd name="T32" fmla="*/ 670 w 1426"/>
                <a:gd name="T33" fmla="*/ 739 h 1523"/>
                <a:gd name="T34" fmla="*/ 282 w 1426"/>
                <a:gd name="T35" fmla="*/ 319 h 1523"/>
                <a:gd name="T36" fmla="*/ 59 w 1426"/>
                <a:gd name="T37" fmla="*/ 143 h 1523"/>
                <a:gd name="T38" fmla="*/ 36 w 1426"/>
                <a:gd name="T39" fmla="*/ 146 h 1523"/>
                <a:gd name="T40" fmla="*/ 12 w 1426"/>
                <a:gd name="T41" fmla="*/ 164 h 1523"/>
                <a:gd name="T42" fmla="*/ 315 w 1426"/>
                <a:gd name="T43" fmla="*/ 490 h 1523"/>
                <a:gd name="T44" fmla="*/ 591 w 1426"/>
                <a:gd name="T45" fmla="*/ 872 h 1523"/>
                <a:gd name="T46" fmla="*/ 631 w 1426"/>
                <a:gd name="T47" fmla="*/ 829 h 1523"/>
                <a:gd name="T48" fmla="*/ 303 w 1426"/>
                <a:gd name="T49" fmla="*/ 1317 h 1523"/>
                <a:gd name="T50" fmla="*/ 184 w 1426"/>
                <a:gd name="T51" fmla="*/ 1466 h 1523"/>
                <a:gd name="T52" fmla="*/ 352 w 1426"/>
                <a:gd name="T53" fmla="*/ 1259 h 1523"/>
                <a:gd name="T54" fmla="*/ 464 w 1426"/>
                <a:gd name="T55" fmla="*/ 1109 h 1523"/>
                <a:gd name="T56" fmla="*/ 584 w 1426"/>
                <a:gd name="T57" fmla="*/ 917 h 1523"/>
                <a:gd name="T58" fmla="*/ 479 w 1426"/>
                <a:gd name="T59" fmla="*/ 1086 h 1523"/>
                <a:gd name="T60" fmla="*/ 363 w 1426"/>
                <a:gd name="T61" fmla="*/ 1292 h 1523"/>
                <a:gd name="T62" fmla="*/ 453 w 1426"/>
                <a:gd name="T63" fmla="*/ 1215 h 1523"/>
                <a:gd name="T64" fmla="*/ 393 w 1426"/>
                <a:gd name="T65" fmla="*/ 1305 h 1523"/>
                <a:gd name="T66" fmla="*/ 422 w 1426"/>
                <a:gd name="T67" fmla="*/ 1285 h 1523"/>
                <a:gd name="T68" fmla="*/ 691 w 1426"/>
                <a:gd name="T69" fmla="*/ 881 h 1523"/>
                <a:gd name="T70" fmla="*/ 698 w 1426"/>
                <a:gd name="T71" fmla="*/ 886 h 1523"/>
                <a:gd name="T72" fmla="*/ 874 w 1426"/>
                <a:gd name="T73" fmla="*/ 986 h 1523"/>
                <a:gd name="T74" fmla="*/ 1391 w 1426"/>
                <a:gd name="T75" fmla="*/ 1351 h 1523"/>
                <a:gd name="T76" fmla="*/ 1426 w 1426"/>
                <a:gd name="T77" fmla="*/ 1354 h 1523"/>
                <a:gd name="T78" fmla="*/ 1259 w 1426"/>
                <a:gd name="T79" fmla="*/ 96 h 1523"/>
                <a:gd name="T80" fmla="*/ 1076 w 1426"/>
                <a:gd name="T81" fmla="*/ 248 h 1523"/>
                <a:gd name="T82" fmla="*/ 108 w 1426"/>
                <a:gd name="T83" fmla="*/ 212 h 1523"/>
                <a:gd name="T84" fmla="*/ 743 w 1426"/>
                <a:gd name="T85" fmla="*/ 803 h 1523"/>
                <a:gd name="T86" fmla="*/ 899 w 1426"/>
                <a:gd name="T87" fmla="*/ 548 h 1523"/>
                <a:gd name="T88" fmla="*/ 1010 w 1426"/>
                <a:gd name="T89" fmla="*/ 320 h 1523"/>
                <a:gd name="T90" fmla="*/ 916 w 1426"/>
                <a:gd name="T91" fmla="*/ 448 h 1523"/>
                <a:gd name="T92" fmla="*/ 744 w 1426"/>
                <a:gd name="T93" fmla="*/ 707 h 1523"/>
                <a:gd name="T94" fmla="*/ 677 w 1426"/>
                <a:gd name="T95" fmla="*/ 751 h 1523"/>
                <a:gd name="T96" fmla="*/ 673 w 1426"/>
                <a:gd name="T97" fmla="*/ 747 h 1523"/>
                <a:gd name="T98" fmla="*/ 662 w 1426"/>
                <a:gd name="T99" fmla="*/ 755 h 1523"/>
                <a:gd name="T100" fmla="*/ 634 w 1426"/>
                <a:gd name="T101" fmla="*/ 708 h 1523"/>
                <a:gd name="T102" fmla="*/ 499 w 1426"/>
                <a:gd name="T103" fmla="*/ 597 h 1523"/>
                <a:gd name="T104" fmla="*/ 493 w 1426"/>
                <a:gd name="T105" fmla="*/ 656 h 1523"/>
                <a:gd name="T106" fmla="*/ 320 w 1426"/>
                <a:gd name="T107" fmla="*/ 470 h 1523"/>
                <a:gd name="T108" fmla="*/ 501 w 1426"/>
                <a:gd name="T109" fmla="*/ 655 h 1523"/>
                <a:gd name="T110" fmla="*/ 671 w 1426"/>
                <a:gd name="T111" fmla="*/ 750 h 1523"/>
                <a:gd name="T112" fmla="*/ 492 w 1426"/>
                <a:gd name="T113" fmla="*/ 1125 h 1523"/>
                <a:gd name="T114" fmla="*/ 440 w 1426"/>
                <a:gd name="T115" fmla="*/ 1184 h 1523"/>
                <a:gd name="T116" fmla="*/ 687 w 1426"/>
                <a:gd name="T117" fmla="*/ 877 h 1523"/>
                <a:gd name="T118" fmla="*/ 695 w 1426"/>
                <a:gd name="T119" fmla="*/ 866 h 1523"/>
                <a:gd name="T120" fmla="*/ 1049 w 1426"/>
                <a:gd name="T121" fmla="*/ 1053 h 1523"/>
                <a:gd name="T122" fmla="*/ 973 w 1426"/>
                <a:gd name="T123" fmla="*/ 1009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26" h="1523">
                  <a:moveTo>
                    <a:pt x="1175" y="1190"/>
                  </a:moveTo>
                  <a:cubicBezTo>
                    <a:pt x="1154" y="1173"/>
                    <a:pt x="1154" y="1173"/>
                    <a:pt x="1154" y="1173"/>
                  </a:cubicBezTo>
                  <a:cubicBezTo>
                    <a:pt x="1143" y="1166"/>
                    <a:pt x="1143" y="1166"/>
                    <a:pt x="1143" y="1166"/>
                  </a:cubicBezTo>
                  <a:cubicBezTo>
                    <a:pt x="1119" y="1150"/>
                    <a:pt x="1096" y="1134"/>
                    <a:pt x="1070" y="1116"/>
                  </a:cubicBezTo>
                  <a:cubicBezTo>
                    <a:pt x="1133" y="1158"/>
                    <a:pt x="1133" y="1158"/>
                    <a:pt x="1133" y="1158"/>
                  </a:cubicBezTo>
                  <a:cubicBezTo>
                    <a:pt x="1093" y="1126"/>
                    <a:pt x="1052" y="1091"/>
                    <a:pt x="1011" y="1063"/>
                  </a:cubicBezTo>
                  <a:cubicBezTo>
                    <a:pt x="988" y="1050"/>
                    <a:pt x="959" y="1029"/>
                    <a:pt x="932" y="1012"/>
                  </a:cubicBezTo>
                  <a:cubicBezTo>
                    <a:pt x="930" y="1012"/>
                    <a:pt x="930" y="1012"/>
                    <a:pt x="930" y="1012"/>
                  </a:cubicBezTo>
                  <a:cubicBezTo>
                    <a:pt x="925" y="1008"/>
                    <a:pt x="925" y="1008"/>
                    <a:pt x="925" y="1008"/>
                  </a:cubicBezTo>
                  <a:cubicBezTo>
                    <a:pt x="921" y="1006"/>
                    <a:pt x="917" y="1004"/>
                    <a:pt x="915" y="1003"/>
                  </a:cubicBezTo>
                  <a:cubicBezTo>
                    <a:pt x="887" y="985"/>
                    <a:pt x="860" y="967"/>
                    <a:pt x="832" y="948"/>
                  </a:cubicBezTo>
                  <a:cubicBezTo>
                    <a:pt x="824" y="943"/>
                    <a:pt x="824" y="943"/>
                    <a:pt x="824" y="943"/>
                  </a:cubicBezTo>
                  <a:cubicBezTo>
                    <a:pt x="816" y="938"/>
                    <a:pt x="807" y="930"/>
                    <a:pt x="800" y="924"/>
                  </a:cubicBezTo>
                  <a:cubicBezTo>
                    <a:pt x="811" y="932"/>
                    <a:pt x="820" y="939"/>
                    <a:pt x="832" y="948"/>
                  </a:cubicBezTo>
                  <a:cubicBezTo>
                    <a:pt x="865" y="968"/>
                    <a:pt x="892" y="981"/>
                    <a:pt x="925" y="1008"/>
                  </a:cubicBezTo>
                  <a:cubicBezTo>
                    <a:pt x="927" y="1009"/>
                    <a:pt x="929" y="1010"/>
                    <a:pt x="931" y="1011"/>
                  </a:cubicBezTo>
                  <a:cubicBezTo>
                    <a:pt x="932" y="1012"/>
                    <a:pt x="932" y="1012"/>
                    <a:pt x="932" y="1012"/>
                  </a:cubicBezTo>
                  <a:cubicBezTo>
                    <a:pt x="945" y="1014"/>
                    <a:pt x="968" y="1032"/>
                    <a:pt x="989" y="1048"/>
                  </a:cubicBezTo>
                  <a:cubicBezTo>
                    <a:pt x="986" y="1043"/>
                    <a:pt x="996" y="1052"/>
                    <a:pt x="998" y="1050"/>
                  </a:cubicBezTo>
                  <a:cubicBezTo>
                    <a:pt x="1022" y="1063"/>
                    <a:pt x="1046" y="1076"/>
                    <a:pt x="1066" y="1088"/>
                  </a:cubicBezTo>
                  <a:cubicBezTo>
                    <a:pt x="1097" y="1106"/>
                    <a:pt x="1124" y="1130"/>
                    <a:pt x="1154" y="1144"/>
                  </a:cubicBezTo>
                  <a:cubicBezTo>
                    <a:pt x="1162" y="1148"/>
                    <a:pt x="1176" y="1159"/>
                    <a:pt x="1187" y="1166"/>
                  </a:cubicBezTo>
                  <a:cubicBezTo>
                    <a:pt x="1204" y="1175"/>
                    <a:pt x="1204" y="1175"/>
                    <a:pt x="1204" y="1175"/>
                  </a:cubicBezTo>
                  <a:cubicBezTo>
                    <a:pt x="1189" y="1162"/>
                    <a:pt x="1189" y="1162"/>
                    <a:pt x="1189" y="1162"/>
                  </a:cubicBezTo>
                  <a:cubicBezTo>
                    <a:pt x="1186" y="1158"/>
                    <a:pt x="1284" y="1224"/>
                    <a:pt x="1283" y="1218"/>
                  </a:cubicBezTo>
                  <a:cubicBezTo>
                    <a:pt x="1284" y="1217"/>
                    <a:pt x="1203" y="1163"/>
                    <a:pt x="1148" y="1122"/>
                  </a:cubicBezTo>
                  <a:cubicBezTo>
                    <a:pt x="1139" y="1111"/>
                    <a:pt x="1168" y="1116"/>
                    <a:pt x="1176" y="1120"/>
                  </a:cubicBezTo>
                  <a:cubicBezTo>
                    <a:pt x="1179" y="1121"/>
                    <a:pt x="1179" y="1121"/>
                    <a:pt x="1179" y="1121"/>
                  </a:cubicBezTo>
                  <a:cubicBezTo>
                    <a:pt x="1155" y="1102"/>
                    <a:pt x="1155" y="1102"/>
                    <a:pt x="1155" y="1102"/>
                  </a:cubicBezTo>
                  <a:cubicBezTo>
                    <a:pt x="1114" y="1074"/>
                    <a:pt x="1114" y="1074"/>
                    <a:pt x="1114" y="1074"/>
                  </a:cubicBezTo>
                  <a:cubicBezTo>
                    <a:pt x="1048" y="1029"/>
                    <a:pt x="1048" y="1029"/>
                    <a:pt x="1048" y="1029"/>
                  </a:cubicBezTo>
                  <a:cubicBezTo>
                    <a:pt x="1067" y="1040"/>
                    <a:pt x="1067" y="1040"/>
                    <a:pt x="1067" y="1040"/>
                  </a:cubicBezTo>
                  <a:cubicBezTo>
                    <a:pt x="1077" y="1045"/>
                    <a:pt x="1077" y="1045"/>
                    <a:pt x="1077" y="1045"/>
                  </a:cubicBezTo>
                  <a:cubicBezTo>
                    <a:pt x="1102" y="1059"/>
                    <a:pt x="1128" y="1080"/>
                    <a:pt x="1155" y="1102"/>
                  </a:cubicBezTo>
                  <a:cubicBezTo>
                    <a:pt x="1170" y="1112"/>
                    <a:pt x="1186" y="1122"/>
                    <a:pt x="1201" y="1132"/>
                  </a:cubicBezTo>
                  <a:cubicBezTo>
                    <a:pt x="1202" y="1132"/>
                    <a:pt x="1202" y="1132"/>
                    <a:pt x="1202" y="1132"/>
                  </a:cubicBezTo>
                  <a:cubicBezTo>
                    <a:pt x="1184" y="1118"/>
                    <a:pt x="1166" y="1104"/>
                    <a:pt x="1148" y="1089"/>
                  </a:cubicBezTo>
                  <a:cubicBezTo>
                    <a:pt x="1113" y="1065"/>
                    <a:pt x="1077" y="1041"/>
                    <a:pt x="1041" y="1016"/>
                  </a:cubicBezTo>
                  <a:cubicBezTo>
                    <a:pt x="1060" y="1027"/>
                    <a:pt x="1060" y="1027"/>
                    <a:pt x="1060" y="1027"/>
                  </a:cubicBezTo>
                  <a:cubicBezTo>
                    <a:pt x="1088" y="1041"/>
                    <a:pt x="1118" y="1064"/>
                    <a:pt x="1148" y="1089"/>
                  </a:cubicBezTo>
                  <a:cubicBezTo>
                    <a:pt x="1181" y="1112"/>
                    <a:pt x="1215" y="1132"/>
                    <a:pt x="1248" y="1152"/>
                  </a:cubicBezTo>
                  <a:cubicBezTo>
                    <a:pt x="1227" y="1136"/>
                    <a:pt x="1203" y="1119"/>
                    <a:pt x="1182" y="1104"/>
                  </a:cubicBezTo>
                  <a:cubicBezTo>
                    <a:pt x="1096" y="1045"/>
                    <a:pt x="1018" y="991"/>
                    <a:pt x="937" y="936"/>
                  </a:cubicBezTo>
                  <a:cubicBezTo>
                    <a:pt x="926" y="931"/>
                    <a:pt x="915" y="925"/>
                    <a:pt x="906" y="919"/>
                  </a:cubicBezTo>
                  <a:cubicBezTo>
                    <a:pt x="882" y="904"/>
                    <a:pt x="859" y="885"/>
                    <a:pt x="835" y="868"/>
                  </a:cubicBezTo>
                  <a:cubicBezTo>
                    <a:pt x="837" y="872"/>
                    <a:pt x="826" y="865"/>
                    <a:pt x="826" y="866"/>
                  </a:cubicBezTo>
                  <a:cubicBezTo>
                    <a:pt x="802" y="854"/>
                    <a:pt x="778" y="834"/>
                    <a:pt x="755" y="814"/>
                  </a:cubicBezTo>
                  <a:cubicBezTo>
                    <a:pt x="752" y="811"/>
                    <a:pt x="753" y="810"/>
                    <a:pt x="750" y="807"/>
                  </a:cubicBezTo>
                  <a:cubicBezTo>
                    <a:pt x="748" y="806"/>
                    <a:pt x="746" y="804"/>
                    <a:pt x="744" y="803"/>
                  </a:cubicBezTo>
                  <a:cubicBezTo>
                    <a:pt x="744" y="803"/>
                    <a:pt x="744" y="802"/>
                    <a:pt x="744" y="802"/>
                  </a:cubicBezTo>
                  <a:cubicBezTo>
                    <a:pt x="746" y="803"/>
                    <a:pt x="747" y="804"/>
                    <a:pt x="749" y="806"/>
                  </a:cubicBezTo>
                  <a:cubicBezTo>
                    <a:pt x="750" y="807"/>
                    <a:pt x="750" y="807"/>
                    <a:pt x="750" y="807"/>
                  </a:cubicBezTo>
                  <a:cubicBezTo>
                    <a:pt x="809" y="853"/>
                    <a:pt x="876" y="892"/>
                    <a:pt x="937" y="936"/>
                  </a:cubicBezTo>
                  <a:cubicBezTo>
                    <a:pt x="947" y="940"/>
                    <a:pt x="947" y="940"/>
                    <a:pt x="947" y="940"/>
                  </a:cubicBezTo>
                  <a:cubicBezTo>
                    <a:pt x="908" y="909"/>
                    <a:pt x="869" y="880"/>
                    <a:pt x="827" y="856"/>
                  </a:cubicBezTo>
                  <a:cubicBezTo>
                    <a:pt x="819" y="852"/>
                    <a:pt x="807" y="847"/>
                    <a:pt x="800" y="842"/>
                  </a:cubicBezTo>
                  <a:cubicBezTo>
                    <a:pt x="782" y="828"/>
                    <a:pt x="763" y="814"/>
                    <a:pt x="745" y="801"/>
                  </a:cubicBezTo>
                  <a:cubicBezTo>
                    <a:pt x="749" y="795"/>
                    <a:pt x="752" y="789"/>
                    <a:pt x="756" y="784"/>
                  </a:cubicBezTo>
                  <a:cubicBezTo>
                    <a:pt x="744" y="800"/>
                    <a:pt x="744" y="800"/>
                    <a:pt x="744" y="800"/>
                  </a:cubicBezTo>
                  <a:cubicBezTo>
                    <a:pt x="743" y="800"/>
                    <a:pt x="742" y="799"/>
                    <a:pt x="741" y="798"/>
                  </a:cubicBezTo>
                  <a:cubicBezTo>
                    <a:pt x="760" y="767"/>
                    <a:pt x="785" y="735"/>
                    <a:pt x="810" y="704"/>
                  </a:cubicBezTo>
                  <a:cubicBezTo>
                    <a:pt x="819" y="692"/>
                    <a:pt x="827" y="680"/>
                    <a:pt x="837" y="669"/>
                  </a:cubicBezTo>
                  <a:cubicBezTo>
                    <a:pt x="810" y="704"/>
                    <a:pt x="810" y="704"/>
                    <a:pt x="810" y="704"/>
                  </a:cubicBezTo>
                  <a:cubicBezTo>
                    <a:pt x="791" y="730"/>
                    <a:pt x="773" y="757"/>
                    <a:pt x="756" y="784"/>
                  </a:cubicBezTo>
                  <a:cubicBezTo>
                    <a:pt x="800" y="719"/>
                    <a:pt x="844" y="659"/>
                    <a:pt x="891" y="598"/>
                  </a:cubicBezTo>
                  <a:cubicBezTo>
                    <a:pt x="936" y="540"/>
                    <a:pt x="976" y="484"/>
                    <a:pt x="1018" y="429"/>
                  </a:cubicBezTo>
                  <a:cubicBezTo>
                    <a:pt x="1035" y="406"/>
                    <a:pt x="1053" y="384"/>
                    <a:pt x="1072" y="364"/>
                  </a:cubicBezTo>
                  <a:cubicBezTo>
                    <a:pt x="1069" y="371"/>
                    <a:pt x="1069" y="371"/>
                    <a:pt x="1069" y="371"/>
                  </a:cubicBezTo>
                  <a:cubicBezTo>
                    <a:pt x="1093" y="346"/>
                    <a:pt x="1116" y="320"/>
                    <a:pt x="1138" y="293"/>
                  </a:cubicBezTo>
                  <a:cubicBezTo>
                    <a:pt x="1144" y="285"/>
                    <a:pt x="1144" y="285"/>
                    <a:pt x="1144" y="285"/>
                  </a:cubicBezTo>
                  <a:cubicBezTo>
                    <a:pt x="1192" y="230"/>
                    <a:pt x="1235" y="183"/>
                    <a:pt x="1289" y="131"/>
                  </a:cubicBezTo>
                  <a:cubicBezTo>
                    <a:pt x="1302" y="119"/>
                    <a:pt x="1314" y="104"/>
                    <a:pt x="1328" y="92"/>
                  </a:cubicBezTo>
                  <a:cubicBezTo>
                    <a:pt x="1337" y="82"/>
                    <a:pt x="1315" y="92"/>
                    <a:pt x="1331" y="76"/>
                  </a:cubicBezTo>
                  <a:cubicBezTo>
                    <a:pt x="1328" y="77"/>
                    <a:pt x="1328" y="77"/>
                    <a:pt x="1328" y="77"/>
                  </a:cubicBezTo>
                  <a:cubicBezTo>
                    <a:pt x="1316" y="90"/>
                    <a:pt x="1306" y="103"/>
                    <a:pt x="1301" y="104"/>
                  </a:cubicBezTo>
                  <a:cubicBezTo>
                    <a:pt x="1293" y="105"/>
                    <a:pt x="1315" y="80"/>
                    <a:pt x="1328" y="62"/>
                  </a:cubicBezTo>
                  <a:cubicBezTo>
                    <a:pt x="1328" y="59"/>
                    <a:pt x="1328" y="59"/>
                    <a:pt x="1328" y="59"/>
                  </a:cubicBezTo>
                  <a:cubicBezTo>
                    <a:pt x="1328" y="59"/>
                    <a:pt x="1330" y="57"/>
                    <a:pt x="1333" y="54"/>
                  </a:cubicBezTo>
                  <a:cubicBezTo>
                    <a:pt x="1334" y="52"/>
                    <a:pt x="1334" y="52"/>
                    <a:pt x="1334" y="52"/>
                  </a:cubicBezTo>
                  <a:cubicBezTo>
                    <a:pt x="1332" y="51"/>
                    <a:pt x="1332" y="49"/>
                    <a:pt x="1332" y="47"/>
                  </a:cubicBezTo>
                  <a:cubicBezTo>
                    <a:pt x="1314" y="64"/>
                    <a:pt x="1314" y="64"/>
                    <a:pt x="1314" y="64"/>
                  </a:cubicBezTo>
                  <a:cubicBezTo>
                    <a:pt x="1317" y="56"/>
                    <a:pt x="1321" y="49"/>
                    <a:pt x="1329" y="39"/>
                  </a:cubicBezTo>
                  <a:cubicBezTo>
                    <a:pt x="1329" y="39"/>
                    <a:pt x="1329" y="39"/>
                    <a:pt x="1329" y="39"/>
                  </a:cubicBezTo>
                  <a:cubicBezTo>
                    <a:pt x="1329" y="38"/>
                    <a:pt x="1329" y="38"/>
                    <a:pt x="1329" y="38"/>
                  </a:cubicBezTo>
                  <a:cubicBezTo>
                    <a:pt x="1335" y="32"/>
                    <a:pt x="1335" y="32"/>
                    <a:pt x="1335" y="32"/>
                  </a:cubicBezTo>
                  <a:cubicBezTo>
                    <a:pt x="1335" y="32"/>
                    <a:pt x="1335" y="32"/>
                    <a:pt x="1335" y="32"/>
                  </a:cubicBezTo>
                  <a:cubicBezTo>
                    <a:pt x="1289" y="62"/>
                    <a:pt x="1323" y="24"/>
                    <a:pt x="1329" y="0"/>
                  </a:cubicBezTo>
                  <a:cubicBezTo>
                    <a:pt x="1325" y="3"/>
                    <a:pt x="1321" y="7"/>
                    <a:pt x="1316" y="12"/>
                  </a:cubicBezTo>
                  <a:cubicBezTo>
                    <a:pt x="1316" y="11"/>
                    <a:pt x="1314" y="9"/>
                    <a:pt x="1314" y="9"/>
                  </a:cubicBezTo>
                  <a:cubicBezTo>
                    <a:pt x="1281" y="36"/>
                    <a:pt x="1257" y="52"/>
                    <a:pt x="1227" y="74"/>
                  </a:cubicBezTo>
                  <a:cubicBezTo>
                    <a:pt x="1219" y="80"/>
                    <a:pt x="1216" y="76"/>
                    <a:pt x="1206" y="86"/>
                  </a:cubicBezTo>
                  <a:cubicBezTo>
                    <a:pt x="1179" y="112"/>
                    <a:pt x="1151" y="138"/>
                    <a:pt x="1127" y="167"/>
                  </a:cubicBezTo>
                  <a:cubicBezTo>
                    <a:pt x="1074" y="227"/>
                    <a:pt x="1025" y="285"/>
                    <a:pt x="975" y="344"/>
                  </a:cubicBezTo>
                  <a:cubicBezTo>
                    <a:pt x="976" y="344"/>
                    <a:pt x="976" y="344"/>
                    <a:pt x="976" y="344"/>
                  </a:cubicBezTo>
                  <a:cubicBezTo>
                    <a:pt x="940" y="387"/>
                    <a:pt x="940" y="387"/>
                    <a:pt x="940" y="387"/>
                  </a:cubicBezTo>
                  <a:cubicBezTo>
                    <a:pt x="928" y="401"/>
                    <a:pt x="922" y="414"/>
                    <a:pt x="910" y="428"/>
                  </a:cubicBezTo>
                  <a:cubicBezTo>
                    <a:pt x="830" y="525"/>
                    <a:pt x="757" y="622"/>
                    <a:pt x="686" y="721"/>
                  </a:cubicBezTo>
                  <a:cubicBezTo>
                    <a:pt x="683" y="728"/>
                    <a:pt x="679" y="736"/>
                    <a:pt x="675" y="743"/>
                  </a:cubicBezTo>
                  <a:cubicBezTo>
                    <a:pt x="674" y="742"/>
                    <a:pt x="673" y="742"/>
                    <a:pt x="672" y="741"/>
                  </a:cubicBezTo>
                  <a:cubicBezTo>
                    <a:pt x="686" y="721"/>
                    <a:pt x="686" y="721"/>
                    <a:pt x="686" y="721"/>
                  </a:cubicBezTo>
                  <a:cubicBezTo>
                    <a:pt x="689" y="714"/>
                    <a:pt x="689" y="714"/>
                    <a:pt x="689" y="714"/>
                  </a:cubicBezTo>
                  <a:cubicBezTo>
                    <a:pt x="682" y="722"/>
                    <a:pt x="676" y="731"/>
                    <a:pt x="670" y="739"/>
                  </a:cubicBezTo>
                  <a:cubicBezTo>
                    <a:pt x="626" y="699"/>
                    <a:pt x="586" y="658"/>
                    <a:pt x="546" y="613"/>
                  </a:cubicBezTo>
                  <a:cubicBezTo>
                    <a:pt x="498" y="560"/>
                    <a:pt x="452" y="511"/>
                    <a:pt x="404" y="462"/>
                  </a:cubicBezTo>
                  <a:cubicBezTo>
                    <a:pt x="385" y="442"/>
                    <a:pt x="368" y="420"/>
                    <a:pt x="350" y="399"/>
                  </a:cubicBezTo>
                  <a:cubicBezTo>
                    <a:pt x="356" y="402"/>
                    <a:pt x="356" y="402"/>
                    <a:pt x="356" y="402"/>
                  </a:cubicBezTo>
                  <a:cubicBezTo>
                    <a:pt x="335" y="376"/>
                    <a:pt x="313" y="351"/>
                    <a:pt x="288" y="326"/>
                  </a:cubicBezTo>
                  <a:cubicBezTo>
                    <a:pt x="282" y="319"/>
                    <a:pt x="282" y="319"/>
                    <a:pt x="282" y="319"/>
                  </a:cubicBezTo>
                  <a:cubicBezTo>
                    <a:pt x="230" y="267"/>
                    <a:pt x="186" y="223"/>
                    <a:pt x="131" y="173"/>
                  </a:cubicBezTo>
                  <a:cubicBezTo>
                    <a:pt x="117" y="161"/>
                    <a:pt x="102" y="150"/>
                    <a:pt x="88" y="139"/>
                  </a:cubicBezTo>
                  <a:cubicBezTo>
                    <a:pt x="77" y="131"/>
                    <a:pt x="90" y="151"/>
                    <a:pt x="72" y="137"/>
                  </a:cubicBezTo>
                  <a:cubicBezTo>
                    <a:pt x="74" y="141"/>
                    <a:pt x="74" y="141"/>
                    <a:pt x="74" y="141"/>
                  </a:cubicBezTo>
                  <a:cubicBezTo>
                    <a:pt x="88" y="150"/>
                    <a:pt x="101" y="158"/>
                    <a:pt x="103" y="163"/>
                  </a:cubicBezTo>
                  <a:cubicBezTo>
                    <a:pt x="105" y="171"/>
                    <a:pt x="78" y="152"/>
                    <a:pt x="59" y="143"/>
                  </a:cubicBezTo>
                  <a:cubicBezTo>
                    <a:pt x="55" y="144"/>
                    <a:pt x="55" y="144"/>
                    <a:pt x="55" y="144"/>
                  </a:cubicBezTo>
                  <a:cubicBezTo>
                    <a:pt x="55" y="144"/>
                    <a:pt x="53" y="142"/>
                    <a:pt x="50" y="140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48" y="141"/>
                    <a:pt x="46" y="142"/>
                    <a:pt x="44" y="142"/>
                  </a:cubicBezTo>
                  <a:cubicBezTo>
                    <a:pt x="62" y="157"/>
                    <a:pt x="62" y="157"/>
                    <a:pt x="62" y="157"/>
                  </a:cubicBezTo>
                  <a:cubicBezTo>
                    <a:pt x="54" y="155"/>
                    <a:pt x="47" y="152"/>
                    <a:pt x="36" y="146"/>
                  </a:cubicBezTo>
                  <a:cubicBezTo>
                    <a:pt x="36" y="146"/>
                    <a:pt x="36" y="146"/>
                    <a:pt x="36" y="146"/>
                  </a:cubicBezTo>
                  <a:cubicBezTo>
                    <a:pt x="35" y="146"/>
                    <a:pt x="35" y="146"/>
                    <a:pt x="35" y="146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63" y="182"/>
                    <a:pt x="23" y="154"/>
                    <a:pt x="0" y="155"/>
                  </a:cubicBezTo>
                  <a:cubicBezTo>
                    <a:pt x="3" y="157"/>
                    <a:pt x="7" y="161"/>
                    <a:pt x="12" y="164"/>
                  </a:cubicBezTo>
                  <a:cubicBezTo>
                    <a:pt x="12" y="165"/>
                    <a:pt x="10" y="166"/>
                    <a:pt x="10" y="166"/>
                  </a:cubicBezTo>
                  <a:cubicBezTo>
                    <a:pt x="39" y="193"/>
                    <a:pt x="56" y="211"/>
                    <a:pt x="78" y="239"/>
                  </a:cubicBezTo>
                  <a:cubicBezTo>
                    <a:pt x="83" y="246"/>
                    <a:pt x="80" y="249"/>
                    <a:pt x="90" y="258"/>
                  </a:cubicBezTo>
                  <a:cubicBezTo>
                    <a:pt x="115" y="281"/>
                    <a:pt x="138" y="307"/>
                    <a:pt x="163" y="331"/>
                  </a:cubicBezTo>
                  <a:cubicBezTo>
                    <a:pt x="218" y="382"/>
                    <a:pt x="266" y="435"/>
                    <a:pt x="315" y="491"/>
                  </a:cubicBezTo>
                  <a:cubicBezTo>
                    <a:pt x="315" y="490"/>
                    <a:pt x="315" y="490"/>
                    <a:pt x="315" y="490"/>
                  </a:cubicBezTo>
                  <a:cubicBezTo>
                    <a:pt x="350" y="530"/>
                    <a:pt x="350" y="530"/>
                    <a:pt x="350" y="530"/>
                  </a:cubicBezTo>
                  <a:cubicBezTo>
                    <a:pt x="362" y="544"/>
                    <a:pt x="373" y="552"/>
                    <a:pt x="385" y="566"/>
                  </a:cubicBezTo>
                  <a:cubicBezTo>
                    <a:pt x="459" y="654"/>
                    <a:pt x="533" y="739"/>
                    <a:pt x="619" y="817"/>
                  </a:cubicBezTo>
                  <a:cubicBezTo>
                    <a:pt x="607" y="834"/>
                    <a:pt x="607" y="834"/>
                    <a:pt x="607" y="834"/>
                  </a:cubicBezTo>
                  <a:cubicBezTo>
                    <a:pt x="579" y="876"/>
                    <a:pt x="554" y="915"/>
                    <a:pt x="530" y="954"/>
                  </a:cubicBezTo>
                  <a:cubicBezTo>
                    <a:pt x="591" y="872"/>
                    <a:pt x="591" y="872"/>
                    <a:pt x="591" y="872"/>
                  </a:cubicBezTo>
                  <a:cubicBezTo>
                    <a:pt x="603" y="854"/>
                    <a:pt x="613" y="837"/>
                    <a:pt x="622" y="820"/>
                  </a:cubicBezTo>
                  <a:cubicBezTo>
                    <a:pt x="623" y="821"/>
                    <a:pt x="624" y="823"/>
                    <a:pt x="626" y="824"/>
                  </a:cubicBezTo>
                  <a:cubicBezTo>
                    <a:pt x="597" y="867"/>
                    <a:pt x="567" y="910"/>
                    <a:pt x="547" y="944"/>
                  </a:cubicBezTo>
                  <a:cubicBezTo>
                    <a:pt x="588" y="889"/>
                    <a:pt x="588" y="889"/>
                    <a:pt x="588" y="889"/>
                  </a:cubicBezTo>
                  <a:cubicBezTo>
                    <a:pt x="603" y="867"/>
                    <a:pt x="615" y="845"/>
                    <a:pt x="626" y="824"/>
                  </a:cubicBezTo>
                  <a:cubicBezTo>
                    <a:pt x="628" y="826"/>
                    <a:pt x="629" y="827"/>
                    <a:pt x="631" y="829"/>
                  </a:cubicBezTo>
                  <a:cubicBezTo>
                    <a:pt x="631" y="829"/>
                    <a:pt x="631" y="829"/>
                    <a:pt x="630" y="829"/>
                  </a:cubicBezTo>
                  <a:cubicBezTo>
                    <a:pt x="628" y="828"/>
                    <a:pt x="628" y="828"/>
                    <a:pt x="628" y="828"/>
                  </a:cubicBezTo>
                  <a:cubicBezTo>
                    <a:pt x="628" y="829"/>
                    <a:pt x="629" y="829"/>
                    <a:pt x="630" y="830"/>
                  </a:cubicBezTo>
                  <a:cubicBezTo>
                    <a:pt x="598" y="880"/>
                    <a:pt x="562" y="930"/>
                    <a:pt x="540" y="968"/>
                  </a:cubicBezTo>
                  <a:cubicBezTo>
                    <a:pt x="497" y="1041"/>
                    <a:pt x="444" y="1117"/>
                    <a:pt x="385" y="1194"/>
                  </a:cubicBezTo>
                  <a:cubicBezTo>
                    <a:pt x="359" y="1235"/>
                    <a:pt x="332" y="1276"/>
                    <a:pt x="303" y="1317"/>
                  </a:cubicBezTo>
                  <a:cubicBezTo>
                    <a:pt x="328" y="1278"/>
                    <a:pt x="355" y="1239"/>
                    <a:pt x="383" y="1197"/>
                  </a:cubicBezTo>
                  <a:cubicBezTo>
                    <a:pt x="352" y="1238"/>
                    <a:pt x="319" y="1279"/>
                    <a:pt x="286" y="1319"/>
                  </a:cubicBezTo>
                  <a:cubicBezTo>
                    <a:pt x="252" y="1367"/>
                    <a:pt x="216" y="1410"/>
                    <a:pt x="179" y="1458"/>
                  </a:cubicBezTo>
                  <a:cubicBezTo>
                    <a:pt x="171" y="1469"/>
                    <a:pt x="162" y="1479"/>
                    <a:pt x="158" y="1488"/>
                  </a:cubicBezTo>
                  <a:cubicBezTo>
                    <a:pt x="152" y="1508"/>
                    <a:pt x="152" y="1508"/>
                    <a:pt x="152" y="1508"/>
                  </a:cubicBezTo>
                  <a:cubicBezTo>
                    <a:pt x="164" y="1494"/>
                    <a:pt x="175" y="1479"/>
                    <a:pt x="184" y="1466"/>
                  </a:cubicBezTo>
                  <a:cubicBezTo>
                    <a:pt x="183" y="1468"/>
                    <a:pt x="184" y="1468"/>
                    <a:pt x="185" y="1469"/>
                  </a:cubicBezTo>
                  <a:cubicBezTo>
                    <a:pt x="201" y="1449"/>
                    <a:pt x="211" y="1434"/>
                    <a:pt x="227" y="1414"/>
                  </a:cubicBezTo>
                  <a:cubicBezTo>
                    <a:pt x="209" y="1447"/>
                    <a:pt x="180" y="1481"/>
                    <a:pt x="151" y="1516"/>
                  </a:cubicBezTo>
                  <a:cubicBezTo>
                    <a:pt x="150" y="1523"/>
                    <a:pt x="150" y="1523"/>
                    <a:pt x="150" y="1523"/>
                  </a:cubicBezTo>
                  <a:cubicBezTo>
                    <a:pt x="212" y="1453"/>
                    <a:pt x="271" y="1378"/>
                    <a:pt x="324" y="1301"/>
                  </a:cubicBezTo>
                  <a:cubicBezTo>
                    <a:pt x="352" y="1259"/>
                    <a:pt x="352" y="1259"/>
                    <a:pt x="352" y="1259"/>
                  </a:cubicBezTo>
                  <a:cubicBezTo>
                    <a:pt x="335" y="1278"/>
                    <a:pt x="335" y="1278"/>
                    <a:pt x="335" y="1278"/>
                  </a:cubicBezTo>
                  <a:cubicBezTo>
                    <a:pt x="352" y="1256"/>
                    <a:pt x="352" y="1256"/>
                    <a:pt x="352" y="1256"/>
                  </a:cubicBezTo>
                  <a:cubicBezTo>
                    <a:pt x="361" y="1246"/>
                    <a:pt x="361" y="1246"/>
                    <a:pt x="361" y="1246"/>
                  </a:cubicBezTo>
                  <a:cubicBezTo>
                    <a:pt x="376" y="1222"/>
                    <a:pt x="393" y="1197"/>
                    <a:pt x="411" y="1171"/>
                  </a:cubicBezTo>
                  <a:cubicBezTo>
                    <a:pt x="369" y="1235"/>
                    <a:pt x="369" y="1235"/>
                    <a:pt x="369" y="1235"/>
                  </a:cubicBezTo>
                  <a:cubicBezTo>
                    <a:pt x="401" y="1194"/>
                    <a:pt x="436" y="1152"/>
                    <a:pt x="464" y="1109"/>
                  </a:cubicBezTo>
                  <a:cubicBezTo>
                    <a:pt x="477" y="1085"/>
                    <a:pt x="498" y="1056"/>
                    <a:pt x="515" y="1028"/>
                  </a:cubicBezTo>
                  <a:cubicBezTo>
                    <a:pt x="515" y="1026"/>
                    <a:pt x="515" y="1026"/>
                    <a:pt x="515" y="1026"/>
                  </a:cubicBezTo>
                  <a:cubicBezTo>
                    <a:pt x="519" y="1021"/>
                    <a:pt x="519" y="1021"/>
                    <a:pt x="519" y="1021"/>
                  </a:cubicBezTo>
                  <a:cubicBezTo>
                    <a:pt x="521" y="1017"/>
                    <a:pt x="523" y="1013"/>
                    <a:pt x="524" y="1010"/>
                  </a:cubicBezTo>
                  <a:cubicBezTo>
                    <a:pt x="542" y="982"/>
                    <a:pt x="559" y="953"/>
                    <a:pt x="579" y="924"/>
                  </a:cubicBezTo>
                  <a:cubicBezTo>
                    <a:pt x="584" y="917"/>
                    <a:pt x="584" y="917"/>
                    <a:pt x="584" y="917"/>
                  </a:cubicBezTo>
                  <a:cubicBezTo>
                    <a:pt x="588" y="908"/>
                    <a:pt x="598" y="898"/>
                    <a:pt x="603" y="891"/>
                  </a:cubicBezTo>
                  <a:cubicBezTo>
                    <a:pt x="579" y="924"/>
                    <a:pt x="579" y="924"/>
                    <a:pt x="579" y="924"/>
                  </a:cubicBezTo>
                  <a:cubicBezTo>
                    <a:pt x="559" y="959"/>
                    <a:pt x="546" y="987"/>
                    <a:pt x="519" y="1021"/>
                  </a:cubicBezTo>
                  <a:cubicBezTo>
                    <a:pt x="518" y="1023"/>
                    <a:pt x="517" y="1025"/>
                    <a:pt x="516" y="1027"/>
                  </a:cubicBezTo>
                  <a:cubicBezTo>
                    <a:pt x="515" y="1028"/>
                    <a:pt x="515" y="1028"/>
                    <a:pt x="515" y="1028"/>
                  </a:cubicBezTo>
                  <a:cubicBezTo>
                    <a:pt x="513" y="1042"/>
                    <a:pt x="495" y="1066"/>
                    <a:pt x="479" y="1086"/>
                  </a:cubicBezTo>
                  <a:cubicBezTo>
                    <a:pt x="484" y="1084"/>
                    <a:pt x="475" y="1094"/>
                    <a:pt x="477" y="1096"/>
                  </a:cubicBezTo>
                  <a:cubicBezTo>
                    <a:pt x="464" y="1121"/>
                    <a:pt x="451" y="1146"/>
                    <a:pt x="440" y="1166"/>
                  </a:cubicBezTo>
                  <a:cubicBezTo>
                    <a:pt x="421" y="1198"/>
                    <a:pt x="396" y="1226"/>
                    <a:pt x="382" y="1256"/>
                  </a:cubicBezTo>
                  <a:cubicBezTo>
                    <a:pt x="378" y="1265"/>
                    <a:pt x="366" y="1279"/>
                    <a:pt x="358" y="1290"/>
                  </a:cubicBezTo>
                  <a:cubicBezTo>
                    <a:pt x="349" y="1307"/>
                    <a:pt x="349" y="1307"/>
                    <a:pt x="349" y="1307"/>
                  </a:cubicBezTo>
                  <a:cubicBezTo>
                    <a:pt x="363" y="1292"/>
                    <a:pt x="363" y="1292"/>
                    <a:pt x="363" y="1292"/>
                  </a:cubicBezTo>
                  <a:cubicBezTo>
                    <a:pt x="367" y="1289"/>
                    <a:pt x="296" y="1389"/>
                    <a:pt x="302" y="1388"/>
                  </a:cubicBezTo>
                  <a:cubicBezTo>
                    <a:pt x="303" y="1388"/>
                    <a:pt x="361" y="1307"/>
                    <a:pt x="405" y="1250"/>
                  </a:cubicBezTo>
                  <a:cubicBezTo>
                    <a:pt x="416" y="1241"/>
                    <a:pt x="411" y="1270"/>
                    <a:pt x="406" y="1278"/>
                  </a:cubicBezTo>
                  <a:cubicBezTo>
                    <a:pt x="405" y="1282"/>
                    <a:pt x="405" y="1282"/>
                    <a:pt x="405" y="1282"/>
                  </a:cubicBezTo>
                  <a:cubicBezTo>
                    <a:pt x="425" y="1257"/>
                    <a:pt x="425" y="1257"/>
                    <a:pt x="425" y="1257"/>
                  </a:cubicBezTo>
                  <a:cubicBezTo>
                    <a:pt x="453" y="1215"/>
                    <a:pt x="453" y="1215"/>
                    <a:pt x="453" y="1215"/>
                  </a:cubicBezTo>
                  <a:cubicBezTo>
                    <a:pt x="499" y="1146"/>
                    <a:pt x="499" y="1146"/>
                    <a:pt x="499" y="1146"/>
                  </a:cubicBezTo>
                  <a:cubicBezTo>
                    <a:pt x="488" y="1166"/>
                    <a:pt x="488" y="1166"/>
                    <a:pt x="488" y="1166"/>
                  </a:cubicBezTo>
                  <a:cubicBezTo>
                    <a:pt x="483" y="1176"/>
                    <a:pt x="483" y="1176"/>
                    <a:pt x="483" y="1176"/>
                  </a:cubicBezTo>
                  <a:cubicBezTo>
                    <a:pt x="469" y="1202"/>
                    <a:pt x="447" y="1229"/>
                    <a:pt x="425" y="1257"/>
                  </a:cubicBezTo>
                  <a:cubicBezTo>
                    <a:pt x="393" y="1304"/>
                    <a:pt x="393" y="1304"/>
                    <a:pt x="393" y="1304"/>
                  </a:cubicBezTo>
                  <a:cubicBezTo>
                    <a:pt x="393" y="1305"/>
                    <a:pt x="393" y="1305"/>
                    <a:pt x="393" y="1305"/>
                  </a:cubicBezTo>
                  <a:cubicBezTo>
                    <a:pt x="438" y="1249"/>
                    <a:pt x="438" y="1249"/>
                    <a:pt x="438" y="1249"/>
                  </a:cubicBezTo>
                  <a:cubicBezTo>
                    <a:pt x="512" y="1139"/>
                    <a:pt x="512" y="1139"/>
                    <a:pt x="512" y="1139"/>
                  </a:cubicBezTo>
                  <a:cubicBezTo>
                    <a:pt x="501" y="1158"/>
                    <a:pt x="501" y="1158"/>
                    <a:pt x="501" y="1158"/>
                  </a:cubicBezTo>
                  <a:cubicBezTo>
                    <a:pt x="487" y="1187"/>
                    <a:pt x="463" y="1218"/>
                    <a:pt x="438" y="1249"/>
                  </a:cubicBezTo>
                  <a:cubicBezTo>
                    <a:pt x="415" y="1284"/>
                    <a:pt x="392" y="1318"/>
                    <a:pt x="371" y="1352"/>
                  </a:cubicBezTo>
                  <a:cubicBezTo>
                    <a:pt x="387" y="1331"/>
                    <a:pt x="407" y="1307"/>
                    <a:pt x="422" y="1285"/>
                  </a:cubicBezTo>
                  <a:cubicBezTo>
                    <a:pt x="483" y="1196"/>
                    <a:pt x="537" y="1114"/>
                    <a:pt x="592" y="1031"/>
                  </a:cubicBezTo>
                  <a:cubicBezTo>
                    <a:pt x="597" y="1020"/>
                    <a:pt x="602" y="1009"/>
                    <a:pt x="609" y="999"/>
                  </a:cubicBezTo>
                  <a:cubicBezTo>
                    <a:pt x="623" y="975"/>
                    <a:pt x="643" y="949"/>
                    <a:pt x="658" y="926"/>
                  </a:cubicBezTo>
                  <a:cubicBezTo>
                    <a:pt x="654" y="929"/>
                    <a:pt x="662" y="918"/>
                    <a:pt x="661" y="917"/>
                  </a:cubicBezTo>
                  <a:cubicBezTo>
                    <a:pt x="668" y="904"/>
                    <a:pt x="676" y="891"/>
                    <a:pt x="686" y="878"/>
                  </a:cubicBezTo>
                  <a:cubicBezTo>
                    <a:pt x="688" y="879"/>
                    <a:pt x="689" y="880"/>
                    <a:pt x="691" y="881"/>
                  </a:cubicBezTo>
                  <a:cubicBezTo>
                    <a:pt x="656" y="932"/>
                    <a:pt x="624" y="982"/>
                    <a:pt x="592" y="1031"/>
                  </a:cubicBezTo>
                  <a:cubicBezTo>
                    <a:pt x="587" y="1041"/>
                    <a:pt x="587" y="1041"/>
                    <a:pt x="587" y="1041"/>
                  </a:cubicBezTo>
                  <a:cubicBezTo>
                    <a:pt x="618" y="1001"/>
                    <a:pt x="648" y="959"/>
                    <a:pt x="670" y="918"/>
                  </a:cubicBezTo>
                  <a:cubicBezTo>
                    <a:pt x="675" y="910"/>
                    <a:pt x="680" y="897"/>
                    <a:pt x="686" y="890"/>
                  </a:cubicBezTo>
                  <a:cubicBezTo>
                    <a:pt x="688" y="887"/>
                    <a:pt x="690" y="884"/>
                    <a:pt x="692" y="881"/>
                  </a:cubicBezTo>
                  <a:cubicBezTo>
                    <a:pt x="694" y="883"/>
                    <a:pt x="696" y="884"/>
                    <a:pt x="698" y="886"/>
                  </a:cubicBezTo>
                  <a:cubicBezTo>
                    <a:pt x="696" y="884"/>
                    <a:pt x="694" y="882"/>
                    <a:pt x="692" y="881"/>
                  </a:cubicBezTo>
                  <a:cubicBezTo>
                    <a:pt x="693" y="879"/>
                    <a:pt x="694" y="878"/>
                    <a:pt x="695" y="876"/>
                  </a:cubicBezTo>
                  <a:cubicBezTo>
                    <a:pt x="707" y="885"/>
                    <a:pt x="719" y="892"/>
                    <a:pt x="731" y="899"/>
                  </a:cubicBezTo>
                  <a:cubicBezTo>
                    <a:pt x="719" y="890"/>
                    <a:pt x="708" y="882"/>
                    <a:pt x="697" y="874"/>
                  </a:cubicBezTo>
                  <a:cubicBezTo>
                    <a:pt x="698" y="873"/>
                    <a:pt x="699" y="871"/>
                    <a:pt x="700" y="869"/>
                  </a:cubicBezTo>
                  <a:cubicBezTo>
                    <a:pt x="759" y="909"/>
                    <a:pt x="828" y="959"/>
                    <a:pt x="874" y="986"/>
                  </a:cubicBezTo>
                  <a:cubicBezTo>
                    <a:pt x="944" y="1029"/>
                    <a:pt x="1018" y="1084"/>
                    <a:pt x="1093" y="1142"/>
                  </a:cubicBezTo>
                  <a:cubicBezTo>
                    <a:pt x="1132" y="1168"/>
                    <a:pt x="1173" y="1193"/>
                    <a:pt x="1214" y="1220"/>
                  </a:cubicBezTo>
                  <a:cubicBezTo>
                    <a:pt x="1176" y="1196"/>
                    <a:pt x="1136" y="1172"/>
                    <a:pt x="1095" y="1144"/>
                  </a:cubicBezTo>
                  <a:cubicBezTo>
                    <a:pt x="1135" y="1175"/>
                    <a:pt x="1176" y="1205"/>
                    <a:pt x="1217" y="1237"/>
                  </a:cubicBezTo>
                  <a:cubicBezTo>
                    <a:pt x="1264" y="1270"/>
                    <a:pt x="1309" y="1302"/>
                    <a:pt x="1359" y="1333"/>
                  </a:cubicBezTo>
                  <a:cubicBezTo>
                    <a:pt x="1371" y="1340"/>
                    <a:pt x="1382" y="1348"/>
                    <a:pt x="1391" y="1351"/>
                  </a:cubicBezTo>
                  <a:cubicBezTo>
                    <a:pt x="1411" y="1354"/>
                    <a:pt x="1411" y="1354"/>
                    <a:pt x="1411" y="1354"/>
                  </a:cubicBezTo>
                  <a:cubicBezTo>
                    <a:pt x="1396" y="1344"/>
                    <a:pt x="1380" y="1335"/>
                    <a:pt x="1367" y="1327"/>
                  </a:cubicBezTo>
                  <a:cubicBezTo>
                    <a:pt x="1369" y="1328"/>
                    <a:pt x="1369" y="1327"/>
                    <a:pt x="1369" y="1326"/>
                  </a:cubicBezTo>
                  <a:cubicBezTo>
                    <a:pt x="1349" y="1313"/>
                    <a:pt x="1333" y="1304"/>
                    <a:pt x="1312" y="1290"/>
                  </a:cubicBezTo>
                  <a:cubicBezTo>
                    <a:pt x="1346" y="1305"/>
                    <a:pt x="1382" y="1330"/>
                    <a:pt x="1419" y="1354"/>
                  </a:cubicBezTo>
                  <a:cubicBezTo>
                    <a:pt x="1426" y="1354"/>
                    <a:pt x="1426" y="1354"/>
                    <a:pt x="1426" y="1354"/>
                  </a:cubicBezTo>
                  <a:cubicBezTo>
                    <a:pt x="1352" y="1302"/>
                    <a:pt x="1273" y="1251"/>
                    <a:pt x="1199" y="1200"/>
                  </a:cubicBezTo>
                  <a:cubicBezTo>
                    <a:pt x="1156" y="1174"/>
                    <a:pt x="1156" y="1174"/>
                    <a:pt x="1156" y="1174"/>
                  </a:cubicBezTo>
                  <a:lnTo>
                    <a:pt x="1175" y="1190"/>
                  </a:lnTo>
                  <a:close/>
                  <a:moveTo>
                    <a:pt x="1252" y="107"/>
                  </a:moveTo>
                  <a:cubicBezTo>
                    <a:pt x="1250" y="108"/>
                    <a:pt x="1250" y="108"/>
                    <a:pt x="1250" y="108"/>
                  </a:cubicBezTo>
                  <a:cubicBezTo>
                    <a:pt x="1259" y="96"/>
                    <a:pt x="1259" y="96"/>
                    <a:pt x="1259" y="96"/>
                  </a:cubicBezTo>
                  <a:cubicBezTo>
                    <a:pt x="1258" y="100"/>
                    <a:pt x="1255" y="103"/>
                    <a:pt x="1252" y="107"/>
                  </a:cubicBezTo>
                  <a:close/>
                  <a:moveTo>
                    <a:pt x="1260" y="89"/>
                  </a:moveTo>
                  <a:cubicBezTo>
                    <a:pt x="1261" y="89"/>
                    <a:pt x="1261" y="89"/>
                    <a:pt x="1261" y="89"/>
                  </a:cubicBezTo>
                  <a:cubicBezTo>
                    <a:pt x="1233" y="119"/>
                    <a:pt x="1204" y="150"/>
                    <a:pt x="1181" y="172"/>
                  </a:cubicBezTo>
                  <a:cubicBezTo>
                    <a:pt x="1207" y="143"/>
                    <a:pt x="1235" y="112"/>
                    <a:pt x="1260" y="89"/>
                  </a:cubicBezTo>
                  <a:close/>
                  <a:moveTo>
                    <a:pt x="1076" y="248"/>
                  </a:moveTo>
                  <a:cubicBezTo>
                    <a:pt x="1076" y="248"/>
                    <a:pt x="1076" y="248"/>
                    <a:pt x="1076" y="248"/>
                  </a:cubicBezTo>
                  <a:cubicBezTo>
                    <a:pt x="1076" y="248"/>
                    <a:pt x="1076" y="248"/>
                    <a:pt x="1076" y="248"/>
                  </a:cubicBezTo>
                  <a:close/>
                  <a:moveTo>
                    <a:pt x="108" y="212"/>
                  </a:moveTo>
                  <a:cubicBezTo>
                    <a:pt x="109" y="214"/>
                    <a:pt x="109" y="214"/>
                    <a:pt x="109" y="214"/>
                  </a:cubicBezTo>
                  <a:cubicBezTo>
                    <a:pt x="98" y="206"/>
                    <a:pt x="98" y="206"/>
                    <a:pt x="98" y="206"/>
                  </a:cubicBezTo>
                  <a:cubicBezTo>
                    <a:pt x="101" y="207"/>
                    <a:pt x="105" y="209"/>
                    <a:pt x="108" y="212"/>
                  </a:cubicBezTo>
                  <a:close/>
                  <a:moveTo>
                    <a:pt x="91" y="205"/>
                  </a:moveTo>
                  <a:cubicBezTo>
                    <a:pt x="91" y="205"/>
                    <a:pt x="91" y="205"/>
                    <a:pt x="91" y="205"/>
                  </a:cubicBezTo>
                  <a:cubicBezTo>
                    <a:pt x="121" y="229"/>
                    <a:pt x="152" y="255"/>
                    <a:pt x="172" y="278"/>
                  </a:cubicBezTo>
                  <a:cubicBezTo>
                    <a:pt x="145" y="252"/>
                    <a:pt x="114" y="227"/>
                    <a:pt x="91" y="205"/>
                  </a:cubicBezTo>
                  <a:close/>
                  <a:moveTo>
                    <a:pt x="744" y="802"/>
                  </a:moveTo>
                  <a:cubicBezTo>
                    <a:pt x="743" y="803"/>
                    <a:pt x="743" y="803"/>
                    <a:pt x="743" y="803"/>
                  </a:cubicBezTo>
                  <a:cubicBezTo>
                    <a:pt x="742" y="802"/>
                    <a:pt x="740" y="801"/>
                    <a:pt x="739" y="801"/>
                  </a:cubicBezTo>
                  <a:cubicBezTo>
                    <a:pt x="739" y="800"/>
                    <a:pt x="740" y="799"/>
                    <a:pt x="740" y="799"/>
                  </a:cubicBezTo>
                  <a:cubicBezTo>
                    <a:pt x="741" y="800"/>
                    <a:pt x="743" y="801"/>
                    <a:pt x="744" y="802"/>
                  </a:cubicBezTo>
                  <a:close/>
                  <a:moveTo>
                    <a:pt x="838" y="658"/>
                  </a:moveTo>
                  <a:cubicBezTo>
                    <a:pt x="809" y="694"/>
                    <a:pt x="778" y="738"/>
                    <a:pt x="752" y="779"/>
                  </a:cubicBezTo>
                  <a:cubicBezTo>
                    <a:pt x="711" y="788"/>
                    <a:pt x="889" y="599"/>
                    <a:pt x="899" y="548"/>
                  </a:cubicBezTo>
                  <a:cubicBezTo>
                    <a:pt x="921" y="542"/>
                    <a:pt x="861" y="629"/>
                    <a:pt x="838" y="658"/>
                  </a:cubicBezTo>
                  <a:close/>
                  <a:moveTo>
                    <a:pt x="752" y="691"/>
                  </a:moveTo>
                  <a:cubicBezTo>
                    <a:pt x="762" y="664"/>
                    <a:pt x="794" y="624"/>
                    <a:pt x="817" y="589"/>
                  </a:cubicBezTo>
                  <a:cubicBezTo>
                    <a:pt x="839" y="553"/>
                    <a:pt x="839" y="553"/>
                    <a:pt x="839" y="553"/>
                  </a:cubicBezTo>
                  <a:cubicBezTo>
                    <a:pt x="876" y="500"/>
                    <a:pt x="913" y="446"/>
                    <a:pt x="957" y="391"/>
                  </a:cubicBezTo>
                  <a:cubicBezTo>
                    <a:pt x="974" y="370"/>
                    <a:pt x="994" y="343"/>
                    <a:pt x="1010" y="320"/>
                  </a:cubicBezTo>
                  <a:cubicBezTo>
                    <a:pt x="1029" y="299"/>
                    <a:pt x="1029" y="299"/>
                    <a:pt x="1029" y="299"/>
                  </a:cubicBezTo>
                  <a:cubicBezTo>
                    <a:pt x="1030" y="299"/>
                    <a:pt x="1030" y="299"/>
                    <a:pt x="1030" y="299"/>
                  </a:cubicBezTo>
                  <a:cubicBezTo>
                    <a:pt x="1008" y="325"/>
                    <a:pt x="1008" y="325"/>
                    <a:pt x="1008" y="325"/>
                  </a:cubicBezTo>
                  <a:cubicBezTo>
                    <a:pt x="1003" y="332"/>
                    <a:pt x="1000" y="342"/>
                    <a:pt x="996" y="345"/>
                  </a:cubicBezTo>
                  <a:cubicBezTo>
                    <a:pt x="986" y="361"/>
                    <a:pt x="971" y="379"/>
                    <a:pt x="957" y="397"/>
                  </a:cubicBezTo>
                  <a:cubicBezTo>
                    <a:pt x="947" y="413"/>
                    <a:pt x="929" y="429"/>
                    <a:pt x="916" y="448"/>
                  </a:cubicBezTo>
                  <a:cubicBezTo>
                    <a:pt x="913" y="451"/>
                    <a:pt x="912" y="456"/>
                    <a:pt x="912" y="457"/>
                  </a:cubicBezTo>
                  <a:cubicBezTo>
                    <a:pt x="890" y="481"/>
                    <a:pt x="884" y="500"/>
                    <a:pt x="862" y="524"/>
                  </a:cubicBezTo>
                  <a:cubicBezTo>
                    <a:pt x="873" y="515"/>
                    <a:pt x="873" y="515"/>
                    <a:pt x="873" y="515"/>
                  </a:cubicBezTo>
                  <a:cubicBezTo>
                    <a:pt x="862" y="530"/>
                    <a:pt x="855" y="542"/>
                    <a:pt x="842" y="561"/>
                  </a:cubicBezTo>
                  <a:cubicBezTo>
                    <a:pt x="830" y="576"/>
                    <a:pt x="825" y="589"/>
                    <a:pt x="817" y="600"/>
                  </a:cubicBezTo>
                  <a:cubicBezTo>
                    <a:pt x="790" y="638"/>
                    <a:pt x="761" y="675"/>
                    <a:pt x="744" y="707"/>
                  </a:cubicBezTo>
                  <a:cubicBezTo>
                    <a:pt x="744" y="702"/>
                    <a:pt x="750" y="695"/>
                    <a:pt x="752" y="691"/>
                  </a:cubicBezTo>
                  <a:close/>
                  <a:moveTo>
                    <a:pt x="677" y="751"/>
                  </a:moveTo>
                  <a:cubicBezTo>
                    <a:pt x="676" y="750"/>
                    <a:pt x="674" y="749"/>
                    <a:pt x="673" y="748"/>
                  </a:cubicBezTo>
                  <a:cubicBezTo>
                    <a:pt x="675" y="745"/>
                    <a:pt x="675" y="745"/>
                    <a:pt x="675" y="745"/>
                  </a:cubicBezTo>
                  <a:cubicBezTo>
                    <a:pt x="676" y="746"/>
                    <a:pt x="677" y="747"/>
                    <a:pt x="678" y="748"/>
                  </a:cubicBezTo>
                  <a:cubicBezTo>
                    <a:pt x="678" y="749"/>
                    <a:pt x="677" y="750"/>
                    <a:pt x="677" y="751"/>
                  </a:cubicBezTo>
                  <a:close/>
                  <a:moveTo>
                    <a:pt x="686" y="731"/>
                  </a:moveTo>
                  <a:cubicBezTo>
                    <a:pt x="684" y="736"/>
                    <a:pt x="682" y="742"/>
                    <a:pt x="679" y="747"/>
                  </a:cubicBezTo>
                  <a:cubicBezTo>
                    <a:pt x="678" y="746"/>
                    <a:pt x="677" y="745"/>
                    <a:pt x="676" y="744"/>
                  </a:cubicBezTo>
                  <a:lnTo>
                    <a:pt x="686" y="731"/>
                  </a:lnTo>
                  <a:close/>
                  <a:moveTo>
                    <a:pt x="674" y="745"/>
                  </a:moveTo>
                  <a:cubicBezTo>
                    <a:pt x="674" y="746"/>
                    <a:pt x="673" y="746"/>
                    <a:pt x="673" y="747"/>
                  </a:cubicBezTo>
                  <a:cubicBezTo>
                    <a:pt x="672" y="746"/>
                    <a:pt x="671" y="745"/>
                    <a:pt x="670" y="744"/>
                  </a:cubicBezTo>
                  <a:cubicBezTo>
                    <a:pt x="671" y="742"/>
                    <a:pt x="671" y="742"/>
                    <a:pt x="671" y="742"/>
                  </a:cubicBezTo>
                  <a:cubicBezTo>
                    <a:pt x="672" y="743"/>
                    <a:pt x="673" y="744"/>
                    <a:pt x="674" y="745"/>
                  </a:cubicBezTo>
                  <a:close/>
                  <a:moveTo>
                    <a:pt x="671" y="750"/>
                  </a:moveTo>
                  <a:cubicBezTo>
                    <a:pt x="669" y="753"/>
                    <a:pt x="668" y="755"/>
                    <a:pt x="666" y="758"/>
                  </a:cubicBezTo>
                  <a:cubicBezTo>
                    <a:pt x="664" y="757"/>
                    <a:pt x="663" y="756"/>
                    <a:pt x="662" y="755"/>
                  </a:cubicBezTo>
                  <a:cubicBezTo>
                    <a:pt x="668" y="747"/>
                    <a:pt x="668" y="747"/>
                    <a:pt x="668" y="747"/>
                  </a:cubicBezTo>
                  <a:cubicBezTo>
                    <a:pt x="669" y="748"/>
                    <a:pt x="670" y="749"/>
                    <a:pt x="671" y="750"/>
                  </a:cubicBezTo>
                  <a:close/>
                  <a:moveTo>
                    <a:pt x="634" y="708"/>
                  </a:moveTo>
                  <a:cubicBezTo>
                    <a:pt x="646" y="719"/>
                    <a:pt x="657" y="730"/>
                    <a:pt x="669" y="740"/>
                  </a:cubicBezTo>
                  <a:cubicBezTo>
                    <a:pt x="668" y="741"/>
                    <a:pt x="668" y="741"/>
                    <a:pt x="668" y="742"/>
                  </a:cubicBezTo>
                  <a:cubicBezTo>
                    <a:pt x="656" y="731"/>
                    <a:pt x="645" y="719"/>
                    <a:pt x="634" y="708"/>
                  </a:cubicBezTo>
                  <a:cubicBezTo>
                    <a:pt x="624" y="698"/>
                    <a:pt x="615" y="687"/>
                    <a:pt x="605" y="677"/>
                  </a:cubicBezTo>
                  <a:lnTo>
                    <a:pt x="634" y="708"/>
                  </a:lnTo>
                  <a:close/>
                  <a:moveTo>
                    <a:pt x="595" y="674"/>
                  </a:moveTo>
                  <a:cubicBezTo>
                    <a:pt x="615" y="698"/>
                    <a:pt x="640" y="722"/>
                    <a:pt x="666" y="745"/>
                  </a:cubicBezTo>
                  <a:cubicBezTo>
                    <a:pt x="664" y="747"/>
                    <a:pt x="662" y="750"/>
                    <a:pt x="660" y="753"/>
                  </a:cubicBezTo>
                  <a:cubicBezTo>
                    <a:pt x="611" y="706"/>
                    <a:pt x="530" y="610"/>
                    <a:pt x="499" y="597"/>
                  </a:cubicBezTo>
                  <a:cubicBezTo>
                    <a:pt x="498" y="574"/>
                    <a:pt x="570" y="648"/>
                    <a:pt x="595" y="674"/>
                  </a:cubicBezTo>
                  <a:close/>
                  <a:moveTo>
                    <a:pt x="237" y="383"/>
                  </a:moveTo>
                  <a:cubicBezTo>
                    <a:pt x="237" y="383"/>
                    <a:pt x="237" y="383"/>
                    <a:pt x="237" y="383"/>
                  </a:cubicBezTo>
                  <a:cubicBezTo>
                    <a:pt x="237" y="383"/>
                    <a:pt x="237" y="383"/>
                    <a:pt x="237" y="383"/>
                  </a:cubicBezTo>
                  <a:close/>
                  <a:moveTo>
                    <a:pt x="523" y="684"/>
                  </a:moveTo>
                  <a:cubicBezTo>
                    <a:pt x="493" y="656"/>
                    <a:pt x="493" y="656"/>
                    <a:pt x="493" y="656"/>
                  </a:cubicBezTo>
                  <a:cubicBezTo>
                    <a:pt x="447" y="611"/>
                    <a:pt x="403" y="565"/>
                    <a:pt x="358" y="515"/>
                  </a:cubicBezTo>
                  <a:cubicBezTo>
                    <a:pt x="339" y="495"/>
                    <a:pt x="317" y="472"/>
                    <a:pt x="298" y="454"/>
                  </a:cubicBezTo>
                  <a:cubicBezTo>
                    <a:pt x="280" y="434"/>
                    <a:pt x="280" y="434"/>
                    <a:pt x="280" y="434"/>
                  </a:cubicBezTo>
                  <a:cubicBezTo>
                    <a:pt x="280" y="432"/>
                    <a:pt x="280" y="432"/>
                    <a:pt x="280" y="432"/>
                  </a:cubicBezTo>
                  <a:cubicBezTo>
                    <a:pt x="302" y="456"/>
                    <a:pt x="302" y="456"/>
                    <a:pt x="302" y="456"/>
                  </a:cubicBezTo>
                  <a:cubicBezTo>
                    <a:pt x="309" y="462"/>
                    <a:pt x="317" y="467"/>
                    <a:pt x="320" y="470"/>
                  </a:cubicBezTo>
                  <a:cubicBezTo>
                    <a:pt x="333" y="482"/>
                    <a:pt x="348" y="500"/>
                    <a:pt x="363" y="516"/>
                  </a:cubicBezTo>
                  <a:cubicBezTo>
                    <a:pt x="377" y="528"/>
                    <a:pt x="389" y="547"/>
                    <a:pt x="405" y="564"/>
                  </a:cubicBezTo>
                  <a:cubicBezTo>
                    <a:pt x="408" y="567"/>
                    <a:pt x="412" y="569"/>
                    <a:pt x="413" y="569"/>
                  </a:cubicBezTo>
                  <a:cubicBezTo>
                    <a:pt x="432" y="594"/>
                    <a:pt x="449" y="604"/>
                    <a:pt x="469" y="629"/>
                  </a:cubicBezTo>
                  <a:cubicBezTo>
                    <a:pt x="462" y="617"/>
                    <a:pt x="462" y="617"/>
                    <a:pt x="462" y="617"/>
                  </a:cubicBezTo>
                  <a:cubicBezTo>
                    <a:pt x="474" y="630"/>
                    <a:pt x="485" y="639"/>
                    <a:pt x="501" y="655"/>
                  </a:cubicBezTo>
                  <a:cubicBezTo>
                    <a:pt x="513" y="669"/>
                    <a:pt x="525" y="676"/>
                    <a:pt x="534" y="686"/>
                  </a:cubicBezTo>
                  <a:cubicBezTo>
                    <a:pt x="567" y="718"/>
                    <a:pt x="598" y="752"/>
                    <a:pt x="628" y="773"/>
                  </a:cubicBezTo>
                  <a:cubicBezTo>
                    <a:pt x="623" y="772"/>
                    <a:pt x="616" y="765"/>
                    <a:pt x="612" y="763"/>
                  </a:cubicBezTo>
                  <a:cubicBezTo>
                    <a:pt x="587" y="749"/>
                    <a:pt x="554" y="711"/>
                    <a:pt x="523" y="684"/>
                  </a:cubicBezTo>
                  <a:close/>
                  <a:moveTo>
                    <a:pt x="666" y="759"/>
                  </a:moveTo>
                  <a:cubicBezTo>
                    <a:pt x="668" y="756"/>
                    <a:pt x="670" y="753"/>
                    <a:pt x="671" y="750"/>
                  </a:cubicBezTo>
                  <a:cubicBezTo>
                    <a:pt x="673" y="751"/>
                    <a:pt x="674" y="752"/>
                    <a:pt x="676" y="753"/>
                  </a:cubicBezTo>
                  <a:cubicBezTo>
                    <a:pt x="674" y="756"/>
                    <a:pt x="673" y="760"/>
                    <a:pt x="671" y="763"/>
                  </a:cubicBezTo>
                  <a:cubicBezTo>
                    <a:pt x="669" y="761"/>
                    <a:pt x="668" y="760"/>
                    <a:pt x="666" y="759"/>
                  </a:cubicBezTo>
                  <a:close/>
                  <a:moveTo>
                    <a:pt x="592" y="969"/>
                  </a:moveTo>
                  <a:cubicBezTo>
                    <a:pt x="567" y="1015"/>
                    <a:pt x="533" y="1064"/>
                    <a:pt x="500" y="1111"/>
                  </a:cubicBezTo>
                  <a:cubicBezTo>
                    <a:pt x="492" y="1125"/>
                    <a:pt x="492" y="1125"/>
                    <a:pt x="492" y="1125"/>
                  </a:cubicBezTo>
                  <a:cubicBezTo>
                    <a:pt x="486" y="1134"/>
                    <a:pt x="480" y="1141"/>
                    <a:pt x="474" y="1148"/>
                  </a:cubicBezTo>
                  <a:cubicBezTo>
                    <a:pt x="472" y="1151"/>
                    <a:pt x="472" y="1151"/>
                    <a:pt x="472" y="1151"/>
                  </a:cubicBezTo>
                  <a:cubicBezTo>
                    <a:pt x="473" y="1149"/>
                    <a:pt x="473" y="1149"/>
                    <a:pt x="473" y="1149"/>
                  </a:cubicBezTo>
                  <a:cubicBezTo>
                    <a:pt x="464" y="1160"/>
                    <a:pt x="455" y="1169"/>
                    <a:pt x="444" y="1181"/>
                  </a:cubicBezTo>
                  <a:cubicBezTo>
                    <a:pt x="442" y="1186"/>
                    <a:pt x="442" y="1186"/>
                    <a:pt x="442" y="1186"/>
                  </a:cubicBezTo>
                  <a:cubicBezTo>
                    <a:pt x="440" y="1184"/>
                    <a:pt x="440" y="1184"/>
                    <a:pt x="440" y="1184"/>
                  </a:cubicBezTo>
                  <a:cubicBezTo>
                    <a:pt x="458" y="1146"/>
                    <a:pt x="493" y="1109"/>
                    <a:pt x="519" y="1070"/>
                  </a:cubicBezTo>
                  <a:cubicBezTo>
                    <a:pt x="551" y="1019"/>
                    <a:pt x="589" y="966"/>
                    <a:pt x="618" y="914"/>
                  </a:cubicBezTo>
                  <a:cubicBezTo>
                    <a:pt x="623" y="905"/>
                    <a:pt x="632" y="895"/>
                    <a:pt x="638" y="888"/>
                  </a:cubicBezTo>
                  <a:cubicBezTo>
                    <a:pt x="621" y="916"/>
                    <a:pt x="609" y="941"/>
                    <a:pt x="592" y="969"/>
                  </a:cubicBezTo>
                  <a:close/>
                  <a:moveTo>
                    <a:pt x="691" y="880"/>
                  </a:moveTo>
                  <a:cubicBezTo>
                    <a:pt x="690" y="879"/>
                    <a:pt x="688" y="878"/>
                    <a:pt x="687" y="877"/>
                  </a:cubicBezTo>
                  <a:cubicBezTo>
                    <a:pt x="688" y="875"/>
                    <a:pt x="689" y="874"/>
                    <a:pt x="690" y="873"/>
                  </a:cubicBezTo>
                  <a:cubicBezTo>
                    <a:pt x="691" y="874"/>
                    <a:pt x="693" y="875"/>
                    <a:pt x="694" y="876"/>
                  </a:cubicBezTo>
                  <a:cubicBezTo>
                    <a:pt x="693" y="877"/>
                    <a:pt x="692" y="878"/>
                    <a:pt x="691" y="880"/>
                  </a:cubicBezTo>
                  <a:close/>
                  <a:moveTo>
                    <a:pt x="695" y="873"/>
                  </a:moveTo>
                  <a:cubicBezTo>
                    <a:pt x="694" y="873"/>
                    <a:pt x="693" y="872"/>
                    <a:pt x="691" y="871"/>
                  </a:cubicBezTo>
                  <a:cubicBezTo>
                    <a:pt x="693" y="869"/>
                    <a:pt x="694" y="867"/>
                    <a:pt x="695" y="866"/>
                  </a:cubicBezTo>
                  <a:cubicBezTo>
                    <a:pt x="696" y="867"/>
                    <a:pt x="698" y="867"/>
                    <a:pt x="699" y="868"/>
                  </a:cubicBezTo>
                  <a:cubicBezTo>
                    <a:pt x="698" y="870"/>
                    <a:pt x="697" y="872"/>
                    <a:pt x="695" y="873"/>
                  </a:cubicBezTo>
                  <a:close/>
                  <a:moveTo>
                    <a:pt x="876" y="934"/>
                  </a:moveTo>
                  <a:cubicBezTo>
                    <a:pt x="921" y="960"/>
                    <a:pt x="968" y="995"/>
                    <a:pt x="1014" y="1028"/>
                  </a:cubicBezTo>
                  <a:cubicBezTo>
                    <a:pt x="1027" y="1036"/>
                    <a:pt x="1027" y="1036"/>
                    <a:pt x="1027" y="1036"/>
                  </a:cubicBezTo>
                  <a:cubicBezTo>
                    <a:pt x="1035" y="1041"/>
                    <a:pt x="1043" y="1047"/>
                    <a:pt x="1049" y="1053"/>
                  </a:cubicBezTo>
                  <a:cubicBezTo>
                    <a:pt x="1052" y="1056"/>
                    <a:pt x="1052" y="1056"/>
                    <a:pt x="1052" y="1056"/>
                  </a:cubicBezTo>
                  <a:cubicBezTo>
                    <a:pt x="1050" y="1054"/>
                    <a:pt x="1050" y="1054"/>
                    <a:pt x="1050" y="1054"/>
                  </a:cubicBezTo>
                  <a:cubicBezTo>
                    <a:pt x="1060" y="1063"/>
                    <a:pt x="1069" y="1073"/>
                    <a:pt x="1081" y="1083"/>
                  </a:cubicBezTo>
                  <a:cubicBezTo>
                    <a:pt x="1085" y="1085"/>
                    <a:pt x="1085" y="1085"/>
                    <a:pt x="1085" y="1085"/>
                  </a:cubicBezTo>
                  <a:cubicBezTo>
                    <a:pt x="1083" y="1088"/>
                    <a:pt x="1083" y="1088"/>
                    <a:pt x="1083" y="1088"/>
                  </a:cubicBezTo>
                  <a:cubicBezTo>
                    <a:pt x="1046" y="1069"/>
                    <a:pt x="1011" y="1034"/>
                    <a:pt x="973" y="1009"/>
                  </a:cubicBezTo>
                  <a:cubicBezTo>
                    <a:pt x="924" y="976"/>
                    <a:pt x="874" y="938"/>
                    <a:pt x="822" y="908"/>
                  </a:cubicBezTo>
                  <a:cubicBezTo>
                    <a:pt x="814" y="904"/>
                    <a:pt x="804" y="895"/>
                    <a:pt x="797" y="890"/>
                  </a:cubicBezTo>
                  <a:cubicBezTo>
                    <a:pt x="824" y="905"/>
                    <a:pt x="850" y="918"/>
                    <a:pt x="876" y="9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6" name="Freeform 40"/>
            <p:cNvSpPr>
              <a:spLocks/>
            </p:cNvSpPr>
            <p:nvPr/>
          </p:nvSpPr>
          <p:spPr bwMode="auto">
            <a:xfrm>
              <a:off x="6348412" y="1404939"/>
              <a:ext cx="382588" cy="263525"/>
            </a:xfrm>
            <a:custGeom>
              <a:avLst/>
              <a:gdLst>
                <a:gd name="T0" fmla="*/ 233 w 441"/>
                <a:gd name="T1" fmla="*/ 148 h 303"/>
                <a:gd name="T2" fmla="*/ 116 w 441"/>
                <a:gd name="T3" fmla="*/ 72 h 303"/>
                <a:gd name="T4" fmla="*/ 0 w 441"/>
                <a:gd name="T5" fmla="*/ 0 h 303"/>
                <a:gd name="T6" fmla="*/ 151 w 441"/>
                <a:gd name="T7" fmla="*/ 118 h 303"/>
                <a:gd name="T8" fmla="*/ 201 w 441"/>
                <a:gd name="T9" fmla="*/ 150 h 303"/>
                <a:gd name="T10" fmla="*/ 240 w 441"/>
                <a:gd name="T11" fmla="*/ 174 h 303"/>
                <a:gd name="T12" fmla="*/ 435 w 441"/>
                <a:gd name="T13" fmla="*/ 303 h 303"/>
                <a:gd name="T14" fmla="*/ 441 w 441"/>
                <a:gd name="T15" fmla="*/ 294 h 303"/>
                <a:gd name="T16" fmla="*/ 235 w 441"/>
                <a:gd name="T17" fmla="*/ 149 h 303"/>
                <a:gd name="T18" fmla="*/ 233 w 441"/>
                <a:gd name="T19" fmla="*/ 148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1" h="303">
                  <a:moveTo>
                    <a:pt x="233" y="148"/>
                  </a:moveTo>
                  <a:cubicBezTo>
                    <a:pt x="200" y="132"/>
                    <a:pt x="155" y="96"/>
                    <a:pt x="116" y="72"/>
                  </a:cubicBezTo>
                  <a:cubicBezTo>
                    <a:pt x="76" y="50"/>
                    <a:pt x="39" y="24"/>
                    <a:pt x="0" y="0"/>
                  </a:cubicBezTo>
                  <a:cubicBezTo>
                    <a:pt x="51" y="41"/>
                    <a:pt x="101" y="77"/>
                    <a:pt x="151" y="118"/>
                  </a:cubicBezTo>
                  <a:cubicBezTo>
                    <a:pt x="201" y="150"/>
                    <a:pt x="201" y="150"/>
                    <a:pt x="201" y="150"/>
                  </a:cubicBezTo>
                  <a:cubicBezTo>
                    <a:pt x="240" y="174"/>
                    <a:pt x="240" y="174"/>
                    <a:pt x="240" y="174"/>
                  </a:cubicBezTo>
                  <a:cubicBezTo>
                    <a:pt x="300" y="213"/>
                    <a:pt x="370" y="261"/>
                    <a:pt x="435" y="303"/>
                  </a:cubicBezTo>
                  <a:cubicBezTo>
                    <a:pt x="439" y="301"/>
                    <a:pt x="441" y="298"/>
                    <a:pt x="441" y="294"/>
                  </a:cubicBezTo>
                  <a:cubicBezTo>
                    <a:pt x="374" y="243"/>
                    <a:pt x="300" y="202"/>
                    <a:pt x="235" y="149"/>
                  </a:cubicBezTo>
                  <a:lnTo>
                    <a:pt x="233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7" name="Freeform 41"/>
            <p:cNvSpPr>
              <a:spLocks/>
            </p:cNvSpPr>
            <p:nvPr/>
          </p:nvSpPr>
          <p:spPr bwMode="auto">
            <a:xfrm>
              <a:off x="6086475" y="1262064"/>
              <a:ext cx="141288" cy="96838"/>
            </a:xfrm>
            <a:custGeom>
              <a:avLst/>
              <a:gdLst>
                <a:gd name="T0" fmla="*/ 0 w 162"/>
                <a:gd name="T1" fmla="*/ 0 h 110"/>
                <a:gd name="T2" fmla="*/ 45 w 162"/>
                <a:gd name="T3" fmla="*/ 33 h 110"/>
                <a:gd name="T4" fmla="*/ 162 w 162"/>
                <a:gd name="T5" fmla="*/ 110 h 110"/>
                <a:gd name="T6" fmla="*/ 83 w 162"/>
                <a:gd name="T7" fmla="*/ 50 h 110"/>
                <a:gd name="T8" fmla="*/ 0 w 162"/>
                <a:gd name="T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10">
                  <a:moveTo>
                    <a:pt x="0" y="0"/>
                  </a:moveTo>
                  <a:cubicBezTo>
                    <a:pt x="15" y="11"/>
                    <a:pt x="29" y="23"/>
                    <a:pt x="45" y="33"/>
                  </a:cubicBezTo>
                  <a:cubicBezTo>
                    <a:pt x="89" y="63"/>
                    <a:pt x="122" y="85"/>
                    <a:pt x="162" y="110"/>
                  </a:cubicBezTo>
                  <a:cubicBezTo>
                    <a:pt x="135" y="91"/>
                    <a:pt x="108" y="69"/>
                    <a:pt x="83" y="50"/>
                  </a:cubicBezTo>
                  <a:cubicBezTo>
                    <a:pt x="54" y="31"/>
                    <a:pt x="27" y="1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8" name="Freeform 42"/>
            <p:cNvSpPr>
              <a:spLocks/>
            </p:cNvSpPr>
            <p:nvPr/>
          </p:nvSpPr>
          <p:spPr bwMode="auto">
            <a:xfrm>
              <a:off x="6219825" y="1344614"/>
              <a:ext cx="303213" cy="220663"/>
            </a:xfrm>
            <a:custGeom>
              <a:avLst/>
              <a:gdLst>
                <a:gd name="T0" fmla="*/ 40 w 349"/>
                <a:gd name="T1" fmla="*/ 36 h 254"/>
                <a:gd name="T2" fmla="*/ 9 w 349"/>
                <a:gd name="T3" fmla="*/ 16 h 254"/>
                <a:gd name="T4" fmla="*/ 126 w 349"/>
                <a:gd name="T5" fmla="*/ 104 h 254"/>
                <a:gd name="T6" fmla="*/ 326 w 349"/>
                <a:gd name="T7" fmla="*/ 239 h 254"/>
                <a:gd name="T8" fmla="*/ 349 w 349"/>
                <a:gd name="T9" fmla="*/ 254 h 254"/>
                <a:gd name="T10" fmla="*/ 6 w 349"/>
                <a:gd name="T11" fmla="*/ 3 h 254"/>
                <a:gd name="T12" fmla="*/ 0 w 349"/>
                <a:gd name="T13" fmla="*/ 0 h 254"/>
                <a:gd name="T14" fmla="*/ 143 w 349"/>
                <a:gd name="T15" fmla="*/ 107 h 254"/>
                <a:gd name="T16" fmla="*/ 40 w 349"/>
                <a:gd name="T17" fmla="*/ 3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9" h="254">
                  <a:moveTo>
                    <a:pt x="40" y="36"/>
                  </a:moveTo>
                  <a:cubicBezTo>
                    <a:pt x="9" y="16"/>
                    <a:pt x="9" y="16"/>
                    <a:pt x="9" y="16"/>
                  </a:cubicBezTo>
                  <a:cubicBezTo>
                    <a:pt x="126" y="104"/>
                    <a:pt x="126" y="104"/>
                    <a:pt x="126" y="104"/>
                  </a:cubicBezTo>
                  <a:cubicBezTo>
                    <a:pt x="193" y="149"/>
                    <a:pt x="258" y="196"/>
                    <a:pt x="326" y="239"/>
                  </a:cubicBezTo>
                  <a:cubicBezTo>
                    <a:pt x="349" y="254"/>
                    <a:pt x="349" y="254"/>
                    <a:pt x="349" y="254"/>
                  </a:cubicBezTo>
                  <a:cubicBezTo>
                    <a:pt x="229" y="164"/>
                    <a:pt x="115" y="69"/>
                    <a:pt x="6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36"/>
                    <a:pt x="95" y="71"/>
                    <a:pt x="143" y="107"/>
                  </a:cubicBezTo>
                  <a:lnTo>
                    <a:pt x="4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29" name="Freeform 43"/>
            <p:cNvSpPr>
              <a:spLocks/>
            </p:cNvSpPr>
            <p:nvPr/>
          </p:nvSpPr>
          <p:spPr bwMode="auto">
            <a:xfrm>
              <a:off x="6464300" y="1498601"/>
              <a:ext cx="20638" cy="14288"/>
            </a:xfrm>
            <a:custGeom>
              <a:avLst/>
              <a:gdLst>
                <a:gd name="T0" fmla="*/ 6 w 13"/>
                <a:gd name="T1" fmla="*/ 5 h 9"/>
                <a:gd name="T2" fmla="*/ 13 w 13"/>
                <a:gd name="T3" fmla="*/ 9 h 9"/>
                <a:gd name="T4" fmla="*/ 9 w 13"/>
                <a:gd name="T5" fmla="*/ 6 h 9"/>
                <a:gd name="T6" fmla="*/ 0 w 13"/>
                <a:gd name="T7" fmla="*/ 0 h 9"/>
                <a:gd name="T8" fmla="*/ 6 w 13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9">
                  <a:moveTo>
                    <a:pt x="6" y="5"/>
                  </a:moveTo>
                  <a:lnTo>
                    <a:pt x="13" y="9"/>
                  </a:lnTo>
                  <a:lnTo>
                    <a:pt x="9" y="6"/>
                  </a:lnTo>
                  <a:lnTo>
                    <a:pt x="0" y="0"/>
                  </a:lnTo>
                  <a:lnTo>
                    <a:pt x="6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0" name="Freeform 44"/>
            <p:cNvSpPr>
              <a:spLocks/>
            </p:cNvSpPr>
            <p:nvPr/>
          </p:nvSpPr>
          <p:spPr bwMode="auto">
            <a:xfrm>
              <a:off x="6315075" y="1355726"/>
              <a:ext cx="77788" cy="52388"/>
            </a:xfrm>
            <a:custGeom>
              <a:avLst/>
              <a:gdLst>
                <a:gd name="T0" fmla="*/ 89 w 89"/>
                <a:gd name="T1" fmla="*/ 61 h 61"/>
                <a:gd name="T2" fmla="*/ 88 w 89"/>
                <a:gd name="T3" fmla="*/ 60 h 61"/>
                <a:gd name="T4" fmla="*/ 53 w 89"/>
                <a:gd name="T5" fmla="*/ 35 h 61"/>
                <a:gd name="T6" fmla="*/ 0 w 89"/>
                <a:gd name="T7" fmla="*/ 0 h 61"/>
                <a:gd name="T8" fmla="*/ 89 w 89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61">
                  <a:moveTo>
                    <a:pt x="89" y="61"/>
                  </a:moveTo>
                  <a:cubicBezTo>
                    <a:pt x="88" y="60"/>
                    <a:pt x="88" y="60"/>
                    <a:pt x="88" y="60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36" y="24"/>
                    <a:pt x="18" y="12"/>
                    <a:pt x="0" y="0"/>
                  </a:cubicBezTo>
                  <a:cubicBezTo>
                    <a:pt x="32" y="23"/>
                    <a:pt x="63" y="46"/>
                    <a:pt x="89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1" name="Freeform 45"/>
            <p:cNvSpPr>
              <a:spLocks/>
            </p:cNvSpPr>
            <p:nvPr/>
          </p:nvSpPr>
          <p:spPr bwMode="auto">
            <a:xfrm>
              <a:off x="6303962" y="1309689"/>
              <a:ext cx="19050" cy="12700"/>
            </a:xfrm>
            <a:custGeom>
              <a:avLst/>
              <a:gdLst>
                <a:gd name="T0" fmla="*/ 22 w 22"/>
                <a:gd name="T1" fmla="*/ 15 h 15"/>
                <a:gd name="T2" fmla="*/ 8 w 22"/>
                <a:gd name="T3" fmla="*/ 4 h 15"/>
                <a:gd name="T4" fmla="*/ 0 w 22"/>
                <a:gd name="T5" fmla="*/ 0 h 15"/>
                <a:gd name="T6" fmla="*/ 10 w 22"/>
                <a:gd name="T7" fmla="*/ 9 h 15"/>
                <a:gd name="T8" fmla="*/ 22 w 22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5">
                  <a:moveTo>
                    <a:pt x="22" y="15"/>
                  </a:moveTo>
                  <a:cubicBezTo>
                    <a:pt x="19" y="12"/>
                    <a:pt x="12" y="7"/>
                    <a:pt x="8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9"/>
                    <a:pt x="10" y="9"/>
                    <a:pt x="10" y="9"/>
                  </a:cubicBezTo>
                  <a:lnTo>
                    <a:pt x="2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2" name="Freeform 46"/>
            <p:cNvSpPr>
              <a:spLocks/>
            </p:cNvSpPr>
            <p:nvPr/>
          </p:nvSpPr>
          <p:spPr bwMode="auto">
            <a:xfrm>
              <a:off x="6657975" y="490539"/>
              <a:ext cx="6350" cy="6350"/>
            </a:xfrm>
            <a:custGeom>
              <a:avLst/>
              <a:gdLst>
                <a:gd name="T0" fmla="*/ 6 w 7"/>
                <a:gd name="T1" fmla="*/ 0 h 7"/>
                <a:gd name="T2" fmla="*/ 0 w 7"/>
                <a:gd name="T3" fmla="*/ 7 h 7"/>
                <a:gd name="T4" fmla="*/ 7 w 7"/>
                <a:gd name="T5" fmla="*/ 1 h 7"/>
                <a:gd name="T6" fmla="*/ 6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4" y="4"/>
                    <a:pt x="7" y="1"/>
                    <a:pt x="7" y="1"/>
                  </a:cubicBez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3" name="Freeform 47"/>
            <p:cNvSpPr>
              <a:spLocks/>
            </p:cNvSpPr>
            <p:nvPr/>
          </p:nvSpPr>
          <p:spPr bwMode="auto">
            <a:xfrm>
              <a:off x="6661150" y="509589"/>
              <a:ext cx="1588" cy="158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0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4" name="Freeform 48"/>
            <p:cNvSpPr>
              <a:spLocks/>
            </p:cNvSpPr>
            <p:nvPr/>
          </p:nvSpPr>
          <p:spPr bwMode="auto">
            <a:xfrm>
              <a:off x="6623050" y="457201"/>
              <a:ext cx="46038" cy="60325"/>
            </a:xfrm>
            <a:custGeom>
              <a:avLst/>
              <a:gdLst>
                <a:gd name="T0" fmla="*/ 46 w 53"/>
                <a:gd name="T1" fmla="*/ 39 h 69"/>
                <a:gd name="T2" fmla="*/ 37 w 53"/>
                <a:gd name="T3" fmla="*/ 30 h 69"/>
                <a:gd name="T4" fmla="*/ 51 w 53"/>
                <a:gd name="T5" fmla="*/ 17 h 69"/>
                <a:gd name="T6" fmla="*/ 46 w 53"/>
                <a:gd name="T7" fmla="*/ 12 h 69"/>
                <a:gd name="T8" fmla="*/ 53 w 53"/>
                <a:gd name="T9" fmla="*/ 5 h 69"/>
                <a:gd name="T10" fmla="*/ 41 w 53"/>
                <a:gd name="T11" fmla="*/ 8 h 69"/>
                <a:gd name="T12" fmla="*/ 46 w 53"/>
                <a:gd name="T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69">
                  <a:moveTo>
                    <a:pt x="46" y="39"/>
                  </a:moveTo>
                  <a:cubicBezTo>
                    <a:pt x="42" y="37"/>
                    <a:pt x="37" y="36"/>
                    <a:pt x="37" y="30"/>
                  </a:cubicBezTo>
                  <a:cubicBezTo>
                    <a:pt x="41" y="26"/>
                    <a:pt x="48" y="20"/>
                    <a:pt x="51" y="17"/>
                  </a:cubicBezTo>
                  <a:cubicBezTo>
                    <a:pt x="53" y="12"/>
                    <a:pt x="48" y="14"/>
                    <a:pt x="46" y="12"/>
                  </a:cubicBezTo>
                  <a:cubicBezTo>
                    <a:pt x="50" y="9"/>
                    <a:pt x="53" y="5"/>
                    <a:pt x="53" y="5"/>
                  </a:cubicBezTo>
                  <a:cubicBezTo>
                    <a:pt x="53" y="0"/>
                    <a:pt x="48" y="2"/>
                    <a:pt x="41" y="8"/>
                  </a:cubicBezTo>
                  <a:cubicBezTo>
                    <a:pt x="34" y="31"/>
                    <a:pt x="0" y="69"/>
                    <a:pt x="46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5" name="Freeform 49"/>
            <p:cNvSpPr>
              <a:spLocks/>
            </p:cNvSpPr>
            <p:nvPr/>
          </p:nvSpPr>
          <p:spPr bwMode="auto">
            <a:xfrm>
              <a:off x="6645275" y="496889"/>
              <a:ext cx="15875" cy="22225"/>
            </a:xfrm>
            <a:custGeom>
              <a:avLst/>
              <a:gdLst>
                <a:gd name="T0" fmla="*/ 0 w 19"/>
                <a:gd name="T1" fmla="*/ 25 h 25"/>
                <a:gd name="T2" fmla="*/ 18 w 19"/>
                <a:gd name="T3" fmla="*/ 9 h 25"/>
                <a:gd name="T4" fmla="*/ 15 w 19"/>
                <a:gd name="T5" fmla="*/ 0 h 25"/>
                <a:gd name="T6" fmla="*/ 0 w 19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5">
                  <a:moveTo>
                    <a:pt x="0" y="25"/>
                  </a:moveTo>
                  <a:cubicBezTo>
                    <a:pt x="18" y="9"/>
                    <a:pt x="18" y="9"/>
                    <a:pt x="18" y="9"/>
                  </a:cubicBezTo>
                  <a:cubicBezTo>
                    <a:pt x="18" y="5"/>
                    <a:pt x="19" y="1"/>
                    <a:pt x="15" y="0"/>
                  </a:cubicBezTo>
                  <a:cubicBezTo>
                    <a:pt x="7" y="10"/>
                    <a:pt x="3" y="17"/>
                    <a:pt x="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6" name="Freeform 50"/>
            <p:cNvSpPr>
              <a:spLocks/>
            </p:cNvSpPr>
            <p:nvPr/>
          </p:nvSpPr>
          <p:spPr bwMode="auto">
            <a:xfrm>
              <a:off x="5575300" y="1733551"/>
              <a:ext cx="66675" cy="87313"/>
            </a:xfrm>
            <a:custGeom>
              <a:avLst/>
              <a:gdLst>
                <a:gd name="T0" fmla="*/ 2 w 77"/>
                <a:gd name="T1" fmla="*/ 94 h 101"/>
                <a:gd name="T2" fmla="*/ 0 w 77"/>
                <a:gd name="T3" fmla="*/ 101 h 101"/>
                <a:gd name="T4" fmla="*/ 77 w 77"/>
                <a:gd name="T5" fmla="*/ 0 h 101"/>
                <a:gd name="T6" fmla="*/ 34 w 77"/>
                <a:gd name="T7" fmla="*/ 54 h 101"/>
                <a:gd name="T8" fmla="*/ 31 w 77"/>
                <a:gd name="T9" fmla="*/ 58 h 101"/>
                <a:gd name="T10" fmla="*/ 34 w 77"/>
                <a:gd name="T11" fmla="*/ 54 h 101"/>
                <a:gd name="T12" fmla="*/ 34 w 77"/>
                <a:gd name="T13" fmla="*/ 51 h 101"/>
                <a:gd name="T14" fmla="*/ 2 w 77"/>
                <a:gd name="T15" fmla="*/ 9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101">
                  <a:moveTo>
                    <a:pt x="2" y="94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29" y="66"/>
                    <a:pt x="58" y="32"/>
                    <a:pt x="77" y="0"/>
                  </a:cubicBezTo>
                  <a:cubicBezTo>
                    <a:pt x="61" y="20"/>
                    <a:pt x="50" y="35"/>
                    <a:pt x="34" y="54"/>
                  </a:cubicBezTo>
                  <a:cubicBezTo>
                    <a:pt x="35" y="55"/>
                    <a:pt x="35" y="55"/>
                    <a:pt x="31" y="58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3" y="53"/>
                    <a:pt x="34" y="51"/>
                  </a:cubicBezTo>
                  <a:cubicBezTo>
                    <a:pt x="25" y="64"/>
                    <a:pt x="13" y="80"/>
                    <a:pt x="2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7" name="Freeform 51"/>
            <p:cNvSpPr>
              <a:spLocks/>
            </p:cNvSpPr>
            <p:nvPr/>
          </p:nvSpPr>
          <p:spPr bwMode="auto">
            <a:xfrm>
              <a:off x="5575300" y="1828801"/>
              <a:ext cx="3175" cy="1588"/>
            </a:xfrm>
            <a:custGeom>
              <a:avLst/>
              <a:gdLst>
                <a:gd name="T0" fmla="*/ 0 w 4"/>
                <a:gd name="T1" fmla="*/ 3 h 3"/>
                <a:gd name="T2" fmla="*/ 3 w 4"/>
                <a:gd name="T3" fmla="*/ 0 h 3"/>
                <a:gd name="T4" fmla="*/ 0 w 4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4" y="1"/>
                    <a:pt x="4" y="0"/>
                    <a:pt x="3" y="0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8" name="Freeform 52"/>
            <p:cNvSpPr>
              <a:spLocks/>
            </p:cNvSpPr>
            <p:nvPr/>
          </p:nvSpPr>
          <p:spPr bwMode="auto">
            <a:xfrm>
              <a:off x="5789612" y="1606551"/>
              <a:ext cx="42863" cy="69850"/>
            </a:xfrm>
            <a:custGeom>
              <a:avLst/>
              <a:gdLst>
                <a:gd name="T0" fmla="*/ 24 w 50"/>
                <a:gd name="T1" fmla="*/ 31 h 80"/>
                <a:gd name="T2" fmla="*/ 3 w 50"/>
                <a:gd name="T3" fmla="*/ 66 h 80"/>
                <a:gd name="T4" fmla="*/ 0 w 50"/>
                <a:gd name="T5" fmla="*/ 80 h 80"/>
                <a:gd name="T6" fmla="*/ 2 w 50"/>
                <a:gd name="T7" fmla="*/ 77 h 80"/>
                <a:gd name="T8" fmla="*/ 38 w 50"/>
                <a:gd name="T9" fmla="*/ 22 h 80"/>
                <a:gd name="T10" fmla="*/ 50 w 50"/>
                <a:gd name="T11" fmla="*/ 0 h 80"/>
                <a:gd name="T12" fmla="*/ 24 w 50"/>
                <a:gd name="T13" fmla="*/ 3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80">
                  <a:moveTo>
                    <a:pt x="24" y="31"/>
                  </a:moveTo>
                  <a:cubicBezTo>
                    <a:pt x="14" y="49"/>
                    <a:pt x="7" y="60"/>
                    <a:pt x="3" y="66"/>
                  </a:cubicBezTo>
                  <a:cubicBezTo>
                    <a:pt x="3" y="70"/>
                    <a:pt x="2" y="74"/>
                    <a:pt x="0" y="80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3" y="14"/>
                    <a:pt x="47" y="6"/>
                    <a:pt x="50" y="0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39" name="Freeform 53"/>
            <p:cNvSpPr>
              <a:spLocks/>
            </p:cNvSpPr>
            <p:nvPr/>
          </p:nvSpPr>
          <p:spPr bwMode="auto">
            <a:xfrm>
              <a:off x="5778500" y="1638301"/>
              <a:ext cx="19050" cy="46038"/>
            </a:xfrm>
            <a:custGeom>
              <a:avLst/>
              <a:gdLst>
                <a:gd name="T0" fmla="*/ 16 w 22"/>
                <a:gd name="T1" fmla="*/ 30 h 53"/>
                <a:gd name="T2" fmla="*/ 16 w 22"/>
                <a:gd name="T3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" h="53">
                  <a:moveTo>
                    <a:pt x="16" y="30"/>
                  </a:moveTo>
                  <a:cubicBezTo>
                    <a:pt x="22" y="0"/>
                    <a:pt x="0" y="53"/>
                    <a:pt x="1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0" name="Freeform 54"/>
            <p:cNvSpPr>
              <a:spLocks/>
            </p:cNvSpPr>
            <p:nvPr/>
          </p:nvSpPr>
          <p:spPr bwMode="auto">
            <a:xfrm>
              <a:off x="5813425" y="1524001"/>
              <a:ext cx="6350" cy="9525"/>
            </a:xfrm>
            <a:custGeom>
              <a:avLst/>
              <a:gdLst>
                <a:gd name="T0" fmla="*/ 4 w 4"/>
                <a:gd name="T1" fmla="*/ 0 h 6"/>
                <a:gd name="T2" fmla="*/ 0 w 4"/>
                <a:gd name="T3" fmla="*/ 6 h 6"/>
                <a:gd name="T4" fmla="*/ 1 w 4"/>
                <a:gd name="T5" fmla="*/ 4 h 6"/>
                <a:gd name="T6" fmla="*/ 4 w 4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lnTo>
                    <a:pt x="0" y="6"/>
                  </a:lnTo>
                  <a:lnTo>
                    <a:pt x="1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1" name="Freeform 55"/>
            <p:cNvSpPr>
              <a:spLocks/>
            </p:cNvSpPr>
            <p:nvPr/>
          </p:nvSpPr>
          <p:spPr bwMode="auto">
            <a:xfrm>
              <a:off x="5945187" y="1335089"/>
              <a:ext cx="49213" cy="76200"/>
            </a:xfrm>
            <a:custGeom>
              <a:avLst/>
              <a:gdLst>
                <a:gd name="T0" fmla="*/ 31 w 58"/>
                <a:gd name="T1" fmla="*/ 43 h 88"/>
                <a:gd name="T2" fmla="*/ 0 w 58"/>
                <a:gd name="T3" fmla="*/ 88 h 88"/>
                <a:gd name="T4" fmla="*/ 58 w 58"/>
                <a:gd name="T5" fmla="*/ 0 h 88"/>
                <a:gd name="T6" fmla="*/ 49 w 58"/>
                <a:gd name="T7" fmla="*/ 11 h 88"/>
                <a:gd name="T8" fmla="*/ 31 w 58"/>
                <a:gd name="T9" fmla="*/ 4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88">
                  <a:moveTo>
                    <a:pt x="31" y="43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1" y="58"/>
                    <a:pt x="43" y="27"/>
                    <a:pt x="58" y="0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6" y="19"/>
                    <a:pt x="39" y="32"/>
                    <a:pt x="3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2" name="Freeform 56"/>
            <p:cNvSpPr>
              <a:spLocks/>
            </p:cNvSpPr>
            <p:nvPr/>
          </p:nvSpPr>
          <p:spPr bwMode="auto">
            <a:xfrm>
              <a:off x="5610225" y="1444626"/>
              <a:ext cx="284163" cy="384175"/>
            </a:xfrm>
            <a:custGeom>
              <a:avLst/>
              <a:gdLst>
                <a:gd name="T0" fmla="*/ 174 w 327"/>
                <a:gd name="T1" fmla="*/ 205 h 441"/>
                <a:gd name="T2" fmla="*/ 149 w 327"/>
                <a:gd name="T3" fmla="*/ 245 h 441"/>
                <a:gd name="T4" fmla="*/ 0 w 327"/>
                <a:gd name="T5" fmla="*/ 435 h 441"/>
                <a:gd name="T6" fmla="*/ 8 w 327"/>
                <a:gd name="T7" fmla="*/ 441 h 441"/>
                <a:gd name="T8" fmla="*/ 174 w 327"/>
                <a:gd name="T9" fmla="*/ 240 h 441"/>
                <a:gd name="T10" fmla="*/ 175 w 327"/>
                <a:gd name="T11" fmla="*/ 239 h 441"/>
                <a:gd name="T12" fmla="*/ 255 w 327"/>
                <a:gd name="T13" fmla="*/ 119 h 441"/>
                <a:gd name="T14" fmla="*/ 327 w 327"/>
                <a:gd name="T15" fmla="*/ 0 h 441"/>
                <a:gd name="T16" fmla="*/ 208 w 327"/>
                <a:gd name="T17" fmla="*/ 156 h 441"/>
                <a:gd name="T18" fmla="*/ 174 w 327"/>
                <a:gd name="T19" fmla="*/ 205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7" h="441">
                  <a:moveTo>
                    <a:pt x="174" y="205"/>
                  </a:moveTo>
                  <a:cubicBezTo>
                    <a:pt x="149" y="245"/>
                    <a:pt x="149" y="245"/>
                    <a:pt x="149" y="245"/>
                  </a:cubicBezTo>
                  <a:cubicBezTo>
                    <a:pt x="107" y="307"/>
                    <a:pt x="50" y="373"/>
                    <a:pt x="0" y="435"/>
                  </a:cubicBezTo>
                  <a:cubicBezTo>
                    <a:pt x="1" y="439"/>
                    <a:pt x="4" y="441"/>
                    <a:pt x="8" y="441"/>
                  </a:cubicBezTo>
                  <a:cubicBezTo>
                    <a:pt x="68" y="378"/>
                    <a:pt x="119" y="307"/>
                    <a:pt x="174" y="240"/>
                  </a:cubicBezTo>
                  <a:cubicBezTo>
                    <a:pt x="175" y="239"/>
                    <a:pt x="175" y="239"/>
                    <a:pt x="175" y="239"/>
                  </a:cubicBezTo>
                  <a:cubicBezTo>
                    <a:pt x="192" y="205"/>
                    <a:pt x="231" y="160"/>
                    <a:pt x="255" y="119"/>
                  </a:cubicBezTo>
                  <a:cubicBezTo>
                    <a:pt x="278" y="78"/>
                    <a:pt x="304" y="40"/>
                    <a:pt x="327" y="0"/>
                  </a:cubicBezTo>
                  <a:cubicBezTo>
                    <a:pt x="287" y="53"/>
                    <a:pt x="250" y="105"/>
                    <a:pt x="208" y="156"/>
                  </a:cubicBezTo>
                  <a:lnTo>
                    <a:pt x="174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3" name="Freeform 57"/>
            <p:cNvSpPr>
              <a:spLocks/>
            </p:cNvSpPr>
            <p:nvPr/>
          </p:nvSpPr>
          <p:spPr bwMode="auto">
            <a:xfrm>
              <a:off x="5732462" y="1312864"/>
              <a:ext cx="223838" cy="311150"/>
            </a:xfrm>
            <a:custGeom>
              <a:avLst/>
              <a:gdLst>
                <a:gd name="T0" fmla="*/ 221 w 258"/>
                <a:gd name="T1" fmla="*/ 42 h 358"/>
                <a:gd name="T2" fmla="*/ 241 w 258"/>
                <a:gd name="T3" fmla="*/ 10 h 358"/>
                <a:gd name="T4" fmla="*/ 154 w 258"/>
                <a:gd name="T5" fmla="*/ 132 h 358"/>
                <a:gd name="T6" fmla="*/ 16 w 258"/>
                <a:gd name="T7" fmla="*/ 336 h 358"/>
                <a:gd name="T8" fmla="*/ 0 w 258"/>
                <a:gd name="T9" fmla="*/ 358 h 358"/>
                <a:gd name="T10" fmla="*/ 254 w 258"/>
                <a:gd name="T11" fmla="*/ 7 h 358"/>
                <a:gd name="T12" fmla="*/ 258 w 258"/>
                <a:gd name="T13" fmla="*/ 0 h 358"/>
                <a:gd name="T14" fmla="*/ 151 w 258"/>
                <a:gd name="T15" fmla="*/ 149 h 358"/>
                <a:gd name="T16" fmla="*/ 221 w 258"/>
                <a:gd name="T17" fmla="*/ 42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358">
                  <a:moveTo>
                    <a:pt x="221" y="42"/>
                  </a:moveTo>
                  <a:cubicBezTo>
                    <a:pt x="241" y="10"/>
                    <a:pt x="241" y="10"/>
                    <a:pt x="241" y="10"/>
                  </a:cubicBezTo>
                  <a:cubicBezTo>
                    <a:pt x="154" y="132"/>
                    <a:pt x="154" y="132"/>
                    <a:pt x="154" y="132"/>
                  </a:cubicBezTo>
                  <a:cubicBezTo>
                    <a:pt x="16" y="336"/>
                    <a:pt x="16" y="336"/>
                    <a:pt x="16" y="336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96" y="240"/>
                    <a:pt x="188" y="119"/>
                    <a:pt x="254" y="7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22" y="50"/>
                    <a:pt x="186" y="100"/>
                    <a:pt x="151" y="149"/>
                  </a:cubicBezTo>
                  <a:lnTo>
                    <a:pt x="221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4" name="Freeform 58"/>
            <p:cNvSpPr>
              <a:spLocks/>
            </p:cNvSpPr>
            <p:nvPr/>
          </p:nvSpPr>
          <p:spPr bwMode="auto">
            <a:xfrm>
              <a:off x="5786437" y="1565276"/>
              <a:ext cx="14288" cy="20638"/>
            </a:xfrm>
            <a:custGeom>
              <a:avLst/>
              <a:gdLst>
                <a:gd name="T0" fmla="*/ 9 w 9"/>
                <a:gd name="T1" fmla="*/ 0 h 13"/>
                <a:gd name="T2" fmla="*/ 5 w 9"/>
                <a:gd name="T3" fmla="*/ 6 h 13"/>
                <a:gd name="T4" fmla="*/ 0 w 9"/>
                <a:gd name="T5" fmla="*/ 13 h 13"/>
                <a:gd name="T6" fmla="*/ 3 w 9"/>
                <a:gd name="T7" fmla="*/ 10 h 13"/>
                <a:gd name="T8" fmla="*/ 9 w 9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3">
                  <a:moveTo>
                    <a:pt x="9" y="0"/>
                  </a:moveTo>
                  <a:lnTo>
                    <a:pt x="5" y="6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5" name="Freeform 59"/>
            <p:cNvSpPr>
              <a:spLocks/>
            </p:cNvSpPr>
            <p:nvPr/>
          </p:nvSpPr>
          <p:spPr bwMode="auto">
            <a:xfrm>
              <a:off x="5891212" y="1411289"/>
              <a:ext cx="53975" cy="79375"/>
            </a:xfrm>
            <a:custGeom>
              <a:avLst/>
              <a:gdLst>
                <a:gd name="T0" fmla="*/ 0 w 61"/>
                <a:gd name="T1" fmla="*/ 92 h 92"/>
                <a:gd name="T2" fmla="*/ 1 w 61"/>
                <a:gd name="T3" fmla="*/ 91 h 92"/>
                <a:gd name="T4" fmla="*/ 27 w 61"/>
                <a:gd name="T5" fmla="*/ 54 h 92"/>
                <a:gd name="T6" fmla="*/ 61 w 61"/>
                <a:gd name="T7" fmla="*/ 0 h 92"/>
                <a:gd name="T8" fmla="*/ 0 w 61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92">
                  <a:moveTo>
                    <a:pt x="0" y="92"/>
                  </a:moveTo>
                  <a:cubicBezTo>
                    <a:pt x="1" y="91"/>
                    <a:pt x="1" y="91"/>
                    <a:pt x="1" y="91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37" y="37"/>
                    <a:pt x="49" y="18"/>
                    <a:pt x="61" y="0"/>
                  </a:cubicBezTo>
                  <a:cubicBezTo>
                    <a:pt x="38" y="33"/>
                    <a:pt x="15" y="65"/>
                    <a:pt x="0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  <p:sp>
          <p:nvSpPr>
            <p:cNvPr id="46" name="Freeform 60"/>
            <p:cNvSpPr>
              <a:spLocks/>
            </p:cNvSpPr>
            <p:nvPr/>
          </p:nvSpPr>
          <p:spPr bwMode="auto">
            <a:xfrm>
              <a:off x="5978525" y="1397001"/>
              <a:ext cx="12700" cy="20638"/>
            </a:xfrm>
            <a:custGeom>
              <a:avLst/>
              <a:gdLst>
                <a:gd name="T0" fmla="*/ 0 w 14"/>
                <a:gd name="T1" fmla="*/ 23 h 23"/>
                <a:gd name="T2" fmla="*/ 11 w 14"/>
                <a:gd name="T3" fmla="*/ 8 h 23"/>
                <a:gd name="T4" fmla="*/ 14 w 14"/>
                <a:gd name="T5" fmla="*/ 0 h 23"/>
                <a:gd name="T6" fmla="*/ 6 w 14"/>
                <a:gd name="T7" fmla="*/ 11 h 23"/>
                <a:gd name="T8" fmla="*/ 0 w 14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3">
                  <a:moveTo>
                    <a:pt x="0" y="23"/>
                  </a:moveTo>
                  <a:cubicBezTo>
                    <a:pt x="2" y="19"/>
                    <a:pt x="8" y="12"/>
                    <a:pt x="11" y="8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11"/>
                    <a:pt x="6" y="11"/>
                    <a:pt x="6" y="11"/>
                  </a:cubicBezTo>
                  <a:lnTo>
                    <a:pt x="0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14131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3413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3115" y="714375"/>
            <a:ext cx="3995741" cy="5429250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2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590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Inhaltsplatzhalter 2"/>
          <p:cNvSpPr txBox="1">
            <a:spLocks/>
          </p:cNvSpPr>
          <p:nvPr/>
        </p:nvSpPr>
        <p:spPr bwMode="gray">
          <a:xfrm>
            <a:off x="1256343" y="1097653"/>
            <a:ext cx="4803430" cy="55934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180975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8025" indent="-165100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Gründung in 2007, heute europäischer Marktführer für </a:t>
            </a: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loud-TK-Anlagen</a:t>
            </a:r>
            <a:endParaRPr lang="de-DE" sz="1800" kern="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Aktiv heute in 11 </a:t>
            </a: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Ländern, Planung</a:t>
            </a:r>
            <a:b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ür Polen, Türkei, RSA und </a:t>
            </a: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USA/CAN </a:t>
            </a: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läuft</a:t>
            </a: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a. 100 Mitarbeiter bedienen über 6.500 Kunden</a:t>
            </a: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Redundante </a:t>
            </a: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Hochleistungsrechen-</a:t>
            </a:r>
            <a:b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18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zentren</a:t>
            </a: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in Deutschland, patentierte Eigenentwicklung</a:t>
            </a: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Weltweite Verfügbarkeit und </a:t>
            </a: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kompetentes Partnernetzwerk: </a:t>
            </a:r>
            <a:b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Bechtle</a:t>
            </a: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, Fujitsu, IBM, Ostertag </a:t>
            </a: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Solutions</a:t>
            </a: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…</a:t>
            </a:r>
            <a:endParaRPr lang="de-DE" sz="1800" kern="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Einziger europäischer Anbieter von </a:t>
            </a: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loud-Telefonie </a:t>
            </a: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ür </a:t>
            </a: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Unternehmen </a:t>
            </a:r>
            <a:b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18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mit </a:t>
            </a:r>
            <a:r>
              <a:rPr lang="de-DE" sz="18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5 bis  &gt; 249.000 Mitarbeitern!</a:t>
            </a:r>
          </a:p>
        </p:txBody>
      </p:sp>
      <p:sp>
        <p:nvSpPr>
          <p:cNvPr id="173" name="Titel 4"/>
          <p:cNvSpPr>
            <a:spLocks noGrp="1"/>
          </p:cNvSpPr>
          <p:nvPr>
            <p:ph type="title"/>
          </p:nvPr>
        </p:nvSpPr>
        <p:spPr>
          <a:xfrm>
            <a:off x="1198286" y="157720"/>
            <a:ext cx="6257925" cy="738664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cap="none" dirty="0" smtClean="0">
                <a:solidFill>
                  <a:srgbClr val="066BB1"/>
                </a:solidFill>
                <a:latin typeface="Arial" pitchFamily="34" charset="0"/>
              </a:rPr>
              <a:t>NFON – die Cloud-Telefonanlage </a:t>
            </a:r>
            <a:r>
              <a:rPr lang="de-DE" cap="none" dirty="0">
                <a:solidFill>
                  <a:srgbClr val="066BB1"/>
                </a:solidFill>
                <a:latin typeface="Arial" pitchFamily="34" charset="0"/>
              </a:rPr>
              <a:t>aus Deutschland </a:t>
            </a:r>
            <a:r>
              <a:rPr lang="de-DE" dirty="0" smtClean="0">
                <a:solidFill>
                  <a:srgbClr val="066BB1"/>
                </a:solidFill>
              </a:rPr>
              <a:t>für ganz Europa</a:t>
            </a:r>
            <a:endParaRPr lang="de-DE" cap="none" dirty="0">
              <a:solidFill>
                <a:srgbClr val="066BB1"/>
              </a:solidFill>
              <a:latin typeface="Arial" pitchFamily="34" charset="0"/>
            </a:endParaRPr>
          </a:p>
        </p:txBody>
      </p:sp>
      <p:pic>
        <p:nvPicPr>
          <p:cNvPr id="87" name="Grafik 86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0128" y="4077787"/>
            <a:ext cx="192491" cy="173676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8" name="Grafik 8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3380" y="3673492"/>
            <a:ext cx="178535" cy="148187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4" name="Grafik 93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4109" y="4548499"/>
            <a:ext cx="176915" cy="141200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9" name="Grafik 108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9235" y="4582319"/>
            <a:ext cx="183287" cy="141200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4" name="Grafik 133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1605" y="3869743"/>
            <a:ext cx="187665" cy="161836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90878" y="3781640"/>
            <a:ext cx="213151" cy="1373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314597" y="4269234"/>
            <a:ext cx="186708" cy="17370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390433" y="4995606"/>
            <a:ext cx="221744" cy="14088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44244" y="4711051"/>
            <a:ext cx="161886" cy="14168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622075" y="4552426"/>
            <a:ext cx="182165" cy="125519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991468" y="4594648"/>
            <a:ext cx="188330" cy="12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414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n-NO" smtClean="0"/>
              <a:t>Seite </a:t>
            </a:r>
            <a:fld id="{CE339489-ACA9-B54D-8689-83BF6B8CCA9F}" type="slidenum">
              <a:rPr lang="nn-NO" smtClean="0"/>
              <a:pPr/>
              <a:t>5</a:t>
            </a:fld>
            <a:r>
              <a:rPr lang="nn-NO" smtClean="0"/>
              <a:t> | 					      NFON AG	</a:t>
            </a:r>
            <a:endParaRPr lang="nn-NO" dirty="0"/>
          </a:p>
        </p:txBody>
      </p:sp>
      <p:sp>
        <p:nvSpPr>
          <p:cNvPr id="4" name="Titel 4"/>
          <p:cNvSpPr txBox="1">
            <a:spLocks/>
          </p:cNvSpPr>
          <p:nvPr/>
        </p:nvSpPr>
        <p:spPr>
          <a:xfrm>
            <a:off x="1198286" y="157720"/>
            <a:ext cx="625792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de-DE" sz="2400" b="0" i="0" u="none" kern="1200" cap="none" dirty="0">
                <a:solidFill>
                  <a:schemeClr val="accent1"/>
                </a:solidFill>
                <a:latin typeface="Arial" pitchFamily="34" charset="0"/>
                <a:ea typeface="+mj-ea"/>
                <a:cs typeface="Eurostile LT Std Demi"/>
              </a:defRPr>
            </a:lvl1pPr>
          </a:lstStyle>
          <a:p>
            <a:r>
              <a:rPr lang="de-DE" dirty="0" smtClean="0">
                <a:solidFill>
                  <a:srgbClr val="066BB1"/>
                </a:solidFill>
              </a:rPr>
              <a:t>NFON – Vier Erfolgsfaktoren, vier Irrtümer …</a:t>
            </a:r>
            <a:endParaRPr lang="de-DE" dirty="0">
              <a:solidFill>
                <a:srgbClr val="066BB1"/>
              </a:solidFill>
            </a:endParaRPr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gray">
          <a:xfrm>
            <a:off x="1256342" y="997527"/>
            <a:ext cx="6779293" cy="538874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180975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8025" indent="-165100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0975" algn="l" rtl="0" eaLnBrk="1" fontAlgn="base" hangingPunct="1">
              <a:spcBef>
                <a:spcPts val="1100"/>
              </a:spcBef>
              <a:spcAft>
                <a:spcPct val="0"/>
              </a:spcAft>
              <a:buClr>
                <a:srgbClr val="0093D3"/>
              </a:buClr>
              <a:buSzPct val="100000"/>
              <a:buFont typeface="Wingdings" pitchFamily="2" charset="2"/>
              <a:buChar char="§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Irrtum 1: Eine gute Lösung spricht sich rum …</a:t>
            </a: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Irrtum 2: Kleines Unternehmen = schnell </a:t>
            </a:r>
            <a:b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              (von wegen)</a:t>
            </a: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Irrtum 3: Kapital findet gute Lösung</a:t>
            </a: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Irrtum 4: Schnelles Wachstum in D lässt sich </a:t>
            </a:r>
            <a:b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              rasch im Ausland duplizieren</a:t>
            </a: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Erfolgsfaktor 1: Ausprobieren !</a:t>
            </a: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Erfolgsfaktor 2: Neu erfinden, immer wieder !</a:t>
            </a: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Erfolgsfaktor 3: Think </a:t>
            </a:r>
            <a:r>
              <a:rPr lang="de-DE" sz="24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big</a:t>
            </a: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! (Partner, </a:t>
            </a:r>
            <a:r>
              <a:rPr lang="de-DE" sz="24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Mgmnt</a:t>
            </a: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…)</a:t>
            </a: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Erfolgsfaktor 4: Schnell wachsen ja, aber</a:t>
            </a:r>
            <a:b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              </a:t>
            </a:r>
            <a: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         Customer </a:t>
            </a:r>
            <a:r>
              <a:rPr lang="de-DE" sz="24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Satisfaction</a:t>
            </a: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400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is</a:t>
            </a:r>
            <a:r>
              <a:rPr lang="de-DE" sz="2400" kern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Key …</a:t>
            </a: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endParaRPr lang="de-DE" sz="2400" kern="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defTabSz="914400">
              <a:spcBef>
                <a:spcPts val="0"/>
              </a:spcBef>
              <a:spcAft>
                <a:spcPts val="12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endParaRPr lang="de-DE" sz="2400" kern="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028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FON">
  <a:themeElements>
    <a:clrScheme name="nfon">
      <a:dk1>
        <a:srgbClr val="141313"/>
      </a:dk1>
      <a:lt1>
        <a:srgbClr val="FFFFFE"/>
      </a:lt1>
      <a:dk2>
        <a:srgbClr val="0092D1"/>
      </a:dk2>
      <a:lt2>
        <a:srgbClr val="FFFFFE"/>
      </a:lt2>
      <a:accent1>
        <a:srgbClr val="066BB1"/>
      </a:accent1>
      <a:accent2>
        <a:srgbClr val="00A0D6"/>
      </a:accent2>
      <a:accent3>
        <a:srgbClr val="41B3DC"/>
      </a:accent3>
      <a:accent4>
        <a:srgbClr val="7EC8E4"/>
      </a:accent4>
      <a:accent5>
        <a:srgbClr val="BCE2EE"/>
      </a:accent5>
      <a:accent6>
        <a:srgbClr val="DCF1F6"/>
      </a:accent6>
      <a:hlink>
        <a:srgbClr val="0092D2"/>
      </a:hlink>
      <a:folHlink>
        <a:srgbClr val="0092D2"/>
      </a:folHlink>
    </a:clrScheme>
    <a:fontScheme name="nf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4</Words>
  <Application>Microsoft Office PowerPoint</Application>
  <PresentationFormat>Bildschirmpräsentation (4:3)</PresentationFormat>
  <Paragraphs>35</Paragraphs>
  <Slides>5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Calibri</vt:lpstr>
      <vt:lpstr>Wingdings</vt:lpstr>
      <vt:lpstr>Eurostile LT Std Demi</vt:lpstr>
      <vt:lpstr>NFON</vt:lpstr>
      <vt:lpstr>think-cell Folie</vt:lpstr>
      <vt:lpstr>PowerPoint-Präsentation</vt:lpstr>
      <vt:lpstr>PowerPoint-Präsentation</vt:lpstr>
      <vt:lpstr>NFON reduziert Geschäftskommunikation auf das, was Unternehmen wirklich brauchen – ohne Gimmicks !</vt:lpstr>
      <vt:lpstr>NFON – die Cloud-Telefonanlage aus Deutschland für ganz Europa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rafik4</dc:creator>
  <cp:lastModifiedBy>Muenchner Kreis Office</cp:lastModifiedBy>
  <cp:revision>470</cp:revision>
  <cp:lastPrinted>2013-12-10T08:25:12Z</cp:lastPrinted>
  <dcterms:created xsi:type="dcterms:W3CDTF">2013-09-16T15:20:02Z</dcterms:created>
  <dcterms:modified xsi:type="dcterms:W3CDTF">2014-03-27T07:44:08Z</dcterms:modified>
</cp:coreProperties>
</file>